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0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1.xml" ContentType="application/vnd.openxmlformats-officedocument.presentationml.notesSlide+xml"/>
  <Override PartName="/ppt/tags/tag1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7" r:id="rId2"/>
    <p:sldId id="342" r:id="rId3"/>
    <p:sldId id="344" r:id="rId4"/>
    <p:sldId id="341" r:id="rId5"/>
    <p:sldId id="343" r:id="rId6"/>
    <p:sldId id="345" r:id="rId7"/>
    <p:sldId id="346" r:id="rId8"/>
    <p:sldId id="347" r:id="rId9"/>
    <p:sldId id="348" r:id="rId10"/>
    <p:sldId id="349" r:id="rId11"/>
    <p:sldId id="350" r:id="rId12"/>
    <p:sldId id="352" r:id="rId13"/>
    <p:sldId id="354" r:id="rId14"/>
    <p:sldId id="355" r:id="rId15"/>
    <p:sldId id="356" r:id="rId16"/>
    <p:sldId id="357" r:id="rId17"/>
    <p:sldId id="358" r:id="rId18"/>
    <p:sldId id="359" r:id="rId19"/>
    <p:sldId id="360" r:id="rId20"/>
    <p:sldId id="361" r:id="rId21"/>
    <p:sldId id="338" r:id="rId22"/>
    <p:sldId id="362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7EE45-AF8D-439A-A008-4853FC71ED48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44467A-AB4E-4DCB-BADD-E00C46065C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889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ildbook?utm_source=unsplash&amp;utm_medium=referral&amp;utm_content=creditCopyText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ney?utm_source=unsplash&amp;utm_medium=referral&amp;utm_content=creditCopyText" TargetMode="Externa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anxa_esteve?utm_source=unsplash&amp;utm_medium=referral&amp;utm_content=creditCopyText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vent?utm_source=unsplash&amp;utm_medium=referral&amp;utm_content=creditCopyText" TargetMode="Externa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kmorrison?utm_source=unsplash&amp;utm_medium=referral&amp;utm_content=creditCopyText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riting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ildbook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ney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941907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08424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542587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45241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41243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448224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246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17523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891381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9231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6483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mitry </a:t>
            </a:r>
            <a:r>
              <a:rPr lang="en-US" dirty="0" err="1">
                <a:hlinkClick r:id="rId3"/>
              </a:rPr>
              <a:t>Demidk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439898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Aranx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Estev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538346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ick Morris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6036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545197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mitry </a:t>
            </a:r>
            <a:r>
              <a:rPr lang="en-US" dirty="0" err="1">
                <a:hlinkClick r:id="rId3"/>
              </a:rPr>
              <a:t>Demidk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07598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67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7830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15459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76088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8BBC6-8145-4455-9420-7B4FE92319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ABE58C-6030-444D-A028-48EA869630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8B5C8-0C3B-4469-96E3-C4A94B371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882C2A-F566-47F2-BB7E-3BF5F5120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3265C-60BB-4742-B90B-0CAD2B17A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758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D0FB7-CCE8-4540-8099-739CDE0DC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C41445-6DD8-4ED0-8D67-50FD543379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EF3476-A502-448C-9B7F-34E896F2C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633F7D-3954-4AE1-B35E-62D0F3B9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FCC13C-2B18-4DF3-A31C-B68C76601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9439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EA2F451-A97E-46B0-AF11-944D2B6826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7E0A45-CC7C-4C10-9C4A-51BEA97876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5F3C5F-8DA6-4250-AED3-C198CA0FC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68D41B-DCB5-4552-B227-09F0F0AFC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28D42-2B1D-49B6-93A0-5027861D6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6196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33"/>
            <a:ext cx="1219194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914400" y="2655767"/>
            <a:ext cx="6052000" cy="154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1pPr>
            <a:lvl2pPr lvl="1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2pPr>
            <a:lvl3pPr lvl="2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3pPr>
            <a:lvl4pPr lvl="3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4pPr>
            <a:lvl5pPr lvl="4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5pPr>
            <a:lvl6pPr lvl="5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6pPr>
            <a:lvl7pPr lvl="6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7pPr>
            <a:lvl8pPr lvl="7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8pPr>
            <a:lvl9pPr lvl="8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7285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oogle Shape;28;p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774067" y="274633"/>
            <a:ext cx="8019200" cy="11432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body" idx="1"/>
          </p:nvPr>
        </p:nvSpPr>
        <p:spPr>
          <a:xfrm>
            <a:off x="774067" y="1803400"/>
            <a:ext cx="3788000" cy="420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>
              <a:spcBef>
                <a:spcPts val="800"/>
              </a:spcBef>
              <a:spcAft>
                <a:spcPts val="0"/>
              </a:spcAft>
              <a:buSzPts val="2000"/>
              <a:buChar char="⬡"/>
              <a:defRPr sz="2667"/>
            </a:lvl1pPr>
            <a:lvl2pPr marL="1219170" lvl="1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2pPr>
            <a:lvl3pPr marL="1828754" lvl="2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3pPr>
            <a:lvl4pPr marL="2438339" lvl="3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4pPr>
            <a:lvl5pPr marL="3047924" lvl="4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5pPr>
            <a:lvl6pPr marL="3657509" lvl="5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6pPr>
            <a:lvl7pPr marL="4267093" lvl="6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7pPr>
            <a:lvl8pPr marL="4876678" lvl="7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8pPr>
            <a:lvl9pPr marL="5486263" lvl="8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body" idx="2"/>
          </p:nvPr>
        </p:nvSpPr>
        <p:spPr>
          <a:xfrm>
            <a:off x="5005257" y="1803400"/>
            <a:ext cx="3788000" cy="420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>
              <a:spcBef>
                <a:spcPts val="800"/>
              </a:spcBef>
              <a:spcAft>
                <a:spcPts val="0"/>
              </a:spcAft>
              <a:buSzPts val="2000"/>
              <a:buChar char="⬡"/>
              <a:defRPr sz="2667"/>
            </a:lvl1pPr>
            <a:lvl2pPr marL="1219170" lvl="1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2pPr>
            <a:lvl3pPr marL="1828754" lvl="2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3pPr>
            <a:lvl4pPr marL="2438339" lvl="3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4pPr>
            <a:lvl5pPr marL="3047924" lvl="4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5pPr>
            <a:lvl6pPr marL="3657509" lvl="5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6pPr>
            <a:lvl7pPr marL="4267093" lvl="6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7pPr>
            <a:lvl8pPr marL="4876678" lvl="7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8pPr>
            <a:lvl9pPr marL="5486263" lvl="8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3889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DB73B-81E6-4E46-8B36-D31FEE4CA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1FA774-AC0A-45D4-8423-A84403D4C9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0EA272-3245-49E9-BCB4-20FCE4EC0C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FE7DD4-6DBB-466E-801D-20C893AC8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E0FB4-B0D8-45F9-904C-0F53277CD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739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BE36A-0D2B-4B25-BBA4-C81C316EE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E46EAA-810B-4EFB-8653-C7107B4B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9C9D3-1C64-4125-99E3-2DC747438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DE84D-3BF4-49DF-8AF7-C76620984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F17A16-94A1-4890-845A-EF9D090A9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009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89BCE-5856-41E1-B5F0-16EBEB25F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C2243F-97AA-4DD3-8E86-3DD4E186E0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5DEF1-0EB0-4A49-B43F-13B4D45F07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C06C-BB0E-4E33-AD88-995AD2B33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7702EC-24C1-4C4C-89FE-A919DAFE6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4576B6-2BA1-49D2-ADC5-12AE7B148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722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60F41-DB44-4CF4-ACE9-649BAB2F9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F70403-C625-431C-B81B-9955285F7C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B7C120-39E1-4876-B5CE-1FC877EE91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73C22-0F95-4B4C-9D38-E5B02171EF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F42E53-CB83-4289-9B72-A41C809FF6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2B0097-BD22-4140-8515-1AEA3C497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C780A3-E1AD-4112-B205-32D263C53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E16666-767E-4806-87F2-1B5F062E6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27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8959F-8203-4786-982C-E02B02F7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171511-E4E0-45FC-B6DD-F1B9CFAE46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086558-D6EF-45A7-AD54-1FB89B4BE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4145B7-5119-47BB-8DCA-97C890673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319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9A589C-DDCA-44A2-862C-715D97C5E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6D26CF-EA2F-4155-A1F5-F764E897A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E424FE-ED59-4E6F-86A7-326123BAE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47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F7832-4437-4650-B1C4-2FD47940E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A24E3-0759-4B1E-B857-1BA952836F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1A949B-AE4A-4981-8D50-D303C5106C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C8A42F-820B-4A27-8025-31B9029DA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06A53D-F9A6-48D7-B461-CA5425874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345F50-A1C7-4AF9-B850-FD49F0D08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734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C41F7-5904-4AB0-9758-B4D522967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CDF734-A005-4D9A-95DA-12611F97E6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A50E2C-542D-4E5C-B2AE-AE2ED469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3E6444-EDF9-4DE0-BFB3-8F6741996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0A96E-9C70-48E3-9081-2CC67F886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C83A9-5781-4DBA-B102-A82CDF232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905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FC70BD-A295-4538-B315-66CBFB958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38CC1-533C-4746-8E0E-01AD4EFEA7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CE18DD-926B-408C-B7B5-6248865D52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A85A05-2474-4450-9301-6C32830CC63A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DB84B-6DF4-47E6-94B2-B15C3B57EA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E5433C-0017-49ED-91EC-8723D0D7B6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565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12" Type="http://schemas.openxmlformats.org/officeDocument/2006/relationships/image" Target="../media/image28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microsoft.com/office/2007/relationships/hdphoto" Target="../media/hdphoto4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3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10" Type="http://schemas.microsoft.com/office/2007/relationships/hdphoto" Target="../media/hdphoto2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10" Type="http://schemas.microsoft.com/office/2007/relationships/hdphoto" Target="../media/hdphoto2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3"/>
          <p:cNvSpPr txBox="1">
            <a:spLocks noGrp="1"/>
          </p:cNvSpPr>
          <p:nvPr>
            <p:ph type="ctrTitle"/>
          </p:nvPr>
        </p:nvSpPr>
        <p:spPr>
          <a:xfrm>
            <a:off x="914401" y="1245287"/>
            <a:ext cx="7691120" cy="15464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ệ thống Quản lý kho LogDez</a:t>
            </a:r>
            <a:endParaRPr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" name="Google Shape;61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59300" y="1401208"/>
            <a:ext cx="2377133" cy="2709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62;p1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094419" y="504432"/>
            <a:ext cx="883333" cy="9687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63;p1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125027" y="1179481"/>
            <a:ext cx="642767" cy="700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64;p1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495590" y="5379435"/>
            <a:ext cx="781553" cy="9150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Google Shape;65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205866" y="4832586"/>
            <a:ext cx="429133" cy="597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552791" y="5010510"/>
            <a:ext cx="429133" cy="5979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60;p13">
            <a:extLst>
              <a:ext uri="{FF2B5EF4-FFF2-40B4-BE49-F238E27FC236}">
                <a16:creationId xmlns:a16="http://schemas.microsoft.com/office/drawing/2014/main" id="{E8885AAA-551C-4158-BABF-E76465795D7B}"/>
              </a:ext>
            </a:extLst>
          </p:cNvPr>
          <p:cNvSpPr txBox="1">
            <a:spLocks/>
          </p:cNvSpPr>
          <p:nvPr/>
        </p:nvSpPr>
        <p:spPr>
          <a:xfrm>
            <a:off x="8277143" y="5977476"/>
            <a:ext cx="3815678" cy="686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9pPr>
          </a:lstStyle>
          <a:p>
            <a:r>
              <a:rPr lang="en-US" sz="1600" dirty="0" err="1">
                <a:solidFill>
                  <a:schemeClr val="tx1"/>
                </a:solidFill>
              </a:rPr>
              <a:t>Công</a:t>
            </a:r>
            <a:r>
              <a:rPr lang="en-US" sz="1600" dirty="0">
                <a:solidFill>
                  <a:schemeClr val="tx1"/>
                </a:solidFill>
              </a:rPr>
              <a:t> ty TNHH </a:t>
            </a:r>
            <a:r>
              <a:rPr lang="en-US" sz="1600" dirty="0" err="1">
                <a:solidFill>
                  <a:schemeClr val="tx1"/>
                </a:solidFill>
              </a:rPr>
              <a:t>LogDez</a:t>
            </a:r>
            <a:r>
              <a:rPr lang="en-US" sz="1600" dirty="0">
                <a:solidFill>
                  <a:schemeClr val="tx1"/>
                </a:solidFill>
              </a:rPr>
              <a:t> Technology</a:t>
            </a:r>
          </a:p>
          <a:p>
            <a:r>
              <a:rPr lang="en-US" sz="1600" dirty="0">
                <a:solidFill>
                  <a:schemeClr val="tx1"/>
                </a:solidFill>
              </a:rPr>
              <a:t>https://logdez.com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Cập nhật hàng hóa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6730C7-7B8A-4167-A2AD-1D23536E53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3100"/>
            <a:ext cx="12192000" cy="551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183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Nhập kho trực tiếp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1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91B9BA-8B85-4324-B104-F5C642ABAA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15011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26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Yêu cầu xuất kho – Danh sách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F4D828-3196-456A-B6DC-E63A53DB1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6275"/>
            <a:ext cx="12192000" cy="550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80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Yêu cầu xuất kho – Cập nhật yêu cầu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3</a:t>
            </a:fld>
            <a:endParaRPr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F15768-CD9C-473F-AE37-1A06B93174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2" y="688833"/>
            <a:ext cx="12185957" cy="558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3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Xuất kho trực tiếp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4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FD1170-39C3-480D-BCB4-EB4B7CB7E6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2625"/>
            <a:ext cx="12192000" cy="549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860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Thông tin kho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5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B3A7F7-18BA-41C3-8115-F8CC5E400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" y="679308"/>
            <a:ext cx="121862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90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Thông tin giao dịch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6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8F7F0D-9E1F-4437-99B6-409DA9097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2625"/>
            <a:ext cx="12192000" cy="549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3007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Thông tin giao hàng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7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3850EE-0012-4546-B542-0F49F7FABC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" y="679308"/>
            <a:ext cx="121862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968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Doanh thu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8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DF9826-CAB7-4B99-A2B1-9965321B7B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9450"/>
            <a:ext cx="12192000" cy="54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825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BBB3EC5C-01C5-4156-AC74-42F91A1CE772}"/>
              </a:ext>
            </a:extLst>
          </p:cNvPr>
          <p:cNvSpPr/>
          <p:nvPr/>
        </p:nvSpPr>
        <p:spPr>
          <a:xfrm>
            <a:off x="3683000" y="4890816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16D312A6-692E-4423-AF78-5FC14596B35C}"/>
              </a:ext>
            </a:extLst>
          </p:cNvPr>
          <p:cNvSpPr/>
          <p:nvPr/>
        </p:nvSpPr>
        <p:spPr>
          <a:xfrm>
            <a:off x="3683000" y="4890816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190596-523A-4E6A-BCF6-BED12CD51FB6}"/>
              </a:ext>
            </a:extLst>
          </p:cNvPr>
          <p:cNvSpPr txBox="1"/>
          <p:nvPr/>
        </p:nvSpPr>
        <p:spPr>
          <a:xfrm>
            <a:off x="5528607" y="5282384"/>
            <a:ext cx="3172935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riể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khai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5" name="Freeform 13">
            <a:extLst>
              <a:ext uri="{FF2B5EF4-FFF2-40B4-BE49-F238E27FC236}">
                <a16:creationId xmlns:a16="http://schemas.microsoft.com/office/drawing/2014/main" id="{10068C04-224B-4605-A735-72275D814B0D}"/>
              </a:ext>
            </a:extLst>
          </p:cNvPr>
          <p:cNvSpPr>
            <a:spLocks noEditPoints="1"/>
          </p:cNvSpPr>
          <p:nvPr/>
        </p:nvSpPr>
        <p:spPr bwMode="auto">
          <a:xfrm>
            <a:off x="4223544" y="5320579"/>
            <a:ext cx="493712" cy="498060"/>
          </a:xfrm>
          <a:custGeom>
            <a:avLst/>
            <a:gdLst>
              <a:gd name="T0" fmla="*/ 96 w 96"/>
              <a:gd name="T1" fmla="*/ 48 h 96"/>
              <a:gd name="T2" fmla="*/ 91 w 96"/>
              <a:gd name="T3" fmla="*/ 39 h 96"/>
              <a:gd name="T4" fmla="*/ 92 w 96"/>
              <a:gd name="T5" fmla="*/ 30 h 96"/>
              <a:gd name="T6" fmla="*/ 85 w 96"/>
              <a:gd name="T7" fmla="*/ 24 h 96"/>
              <a:gd name="T8" fmla="*/ 82 w 96"/>
              <a:gd name="T9" fmla="*/ 14 h 96"/>
              <a:gd name="T10" fmla="*/ 72 w 96"/>
              <a:gd name="T11" fmla="*/ 11 h 96"/>
              <a:gd name="T12" fmla="*/ 66 w 96"/>
              <a:gd name="T13" fmla="*/ 4 h 96"/>
              <a:gd name="T14" fmla="*/ 57 w 96"/>
              <a:gd name="T15" fmla="*/ 5 h 96"/>
              <a:gd name="T16" fmla="*/ 48 w 96"/>
              <a:gd name="T17" fmla="*/ 0 h 96"/>
              <a:gd name="T18" fmla="*/ 39 w 96"/>
              <a:gd name="T19" fmla="*/ 5 h 96"/>
              <a:gd name="T20" fmla="*/ 30 w 96"/>
              <a:gd name="T21" fmla="*/ 4 h 96"/>
              <a:gd name="T22" fmla="*/ 24 w 96"/>
              <a:gd name="T23" fmla="*/ 11 h 96"/>
              <a:gd name="T24" fmla="*/ 14 w 96"/>
              <a:gd name="T25" fmla="*/ 14 h 96"/>
              <a:gd name="T26" fmla="*/ 11 w 96"/>
              <a:gd name="T27" fmla="*/ 24 h 96"/>
              <a:gd name="T28" fmla="*/ 4 w 96"/>
              <a:gd name="T29" fmla="*/ 30 h 96"/>
              <a:gd name="T30" fmla="*/ 5 w 96"/>
              <a:gd name="T31" fmla="*/ 39 h 96"/>
              <a:gd name="T32" fmla="*/ 0 w 96"/>
              <a:gd name="T33" fmla="*/ 48 h 96"/>
              <a:gd name="T34" fmla="*/ 5 w 96"/>
              <a:gd name="T35" fmla="*/ 57 h 96"/>
              <a:gd name="T36" fmla="*/ 4 w 96"/>
              <a:gd name="T37" fmla="*/ 66 h 96"/>
              <a:gd name="T38" fmla="*/ 11 w 96"/>
              <a:gd name="T39" fmla="*/ 72 h 96"/>
              <a:gd name="T40" fmla="*/ 14 w 96"/>
              <a:gd name="T41" fmla="*/ 82 h 96"/>
              <a:gd name="T42" fmla="*/ 24 w 96"/>
              <a:gd name="T43" fmla="*/ 85 h 96"/>
              <a:gd name="T44" fmla="*/ 30 w 96"/>
              <a:gd name="T45" fmla="*/ 92 h 96"/>
              <a:gd name="T46" fmla="*/ 39 w 96"/>
              <a:gd name="T47" fmla="*/ 91 h 96"/>
              <a:gd name="T48" fmla="*/ 48 w 96"/>
              <a:gd name="T49" fmla="*/ 96 h 96"/>
              <a:gd name="T50" fmla="*/ 57 w 96"/>
              <a:gd name="T51" fmla="*/ 91 h 96"/>
              <a:gd name="T52" fmla="*/ 66 w 96"/>
              <a:gd name="T53" fmla="*/ 92 h 96"/>
              <a:gd name="T54" fmla="*/ 72 w 96"/>
              <a:gd name="T55" fmla="*/ 85 h 96"/>
              <a:gd name="T56" fmla="*/ 82 w 96"/>
              <a:gd name="T57" fmla="*/ 82 h 96"/>
              <a:gd name="T58" fmla="*/ 85 w 96"/>
              <a:gd name="T59" fmla="*/ 72 h 96"/>
              <a:gd name="T60" fmla="*/ 92 w 96"/>
              <a:gd name="T61" fmla="*/ 66 h 96"/>
              <a:gd name="T62" fmla="*/ 91 w 96"/>
              <a:gd name="T63" fmla="*/ 57 h 96"/>
              <a:gd name="T64" fmla="*/ 96 w 96"/>
              <a:gd name="T65" fmla="*/ 48 h 96"/>
              <a:gd name="T66" fmla="*/ 69 w 96"/>
              <a:gd name="T67" fmla="*/ 35 h 96"/>
              <a:gd name="T68" fmla="*/ 39 w 96"/>
              <a:gd name="T69" fmla="*/ 63 h 96"/>
              <a:gd name="T70" fmla="*/ 38 w 96"/>
              <a:gd name="T71" fmla="*/ 64 h 96"/>
              <a:gd name="T72" fmla="*/ 37 w 96"/>
              <a:gd name="T73" fmla="*/ 63 h 96"/>
              <a:gd name="T74" fmla="*/ 27 w 96"/>
              <a:gd name="T75" fmla="*/ 53 h 96"/>
              <a:gd name="T76" fmla="*/ 27 w 96"/>
              <a:gd name="T77" fmla="*/ 51 h 96"/>
              <a:gd name="T78" fmla="*/ 29 w 96"/>
              <a:gd name="T79" fmla="*/ 51 h 96"/>
              <a:gd name="T80" fmla="*/ 38 w 96"/>
              <a:gd name="T81" fmla="*/ 59 h 96"/>
              <a:gd name="T82" fmla="*/ 67 w 96"/>
              <a:gd name="T83" fmla="*/ 33 h 96"/>
              <a:gd name="T84" fmla="*/ 69 w 96"/>
              <a:gd name="T85" fmla="*/ 33 h 96"/>
              <a:gd name="T86" fmla="*/ 69 w 96"/>
              <a:gd name="T87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4"/>
                  <a:pt x="94" y="41"/>
                  <a:pt x="91" y="39"/>
                </a:cubicBezTo>
                <a:cubicBezTo>
                  <a:pt x="93" y="37"/>
                  <a:pt x="94" y="33"/>
                  <a:pt x="92" y="30"/>
                </a:cubicBezTo>
                <a:cubicBezTo>
                  <a:pt x="91" y="26"/>
                  <a:pt x="88" y="24"/>
                  <a:pt x="85" y="24"/>
                </a:cubicBezTo>
                <a:cubicBezTo>
                  <a:pt x="85" y="20"/>
                  <a:pt x="84" y="17"/>
                  <a:pt x="82" y="14"/>
                </a:cubicBezTo>
                <a:cubicBezTo>
                  <a:pt x="79" y="12"/>
                  <a:pt x="76" y="11"/>
                  <a:pt x="72" y="11"/>
                </a:cubicBezTo>
                <a:cubicBezTo>
                  <a:pt x="72" y="8"/>
                  <a:pt x="70" y="5"/>
                  <a:pt x="66" y="4"/>
                </a:cubicBezTo>
                <a:cubicBezTo>
                  <a:pt x="63" y="2"/>
                  <a:pt x="59" y="3"/>
                  <a:pt x="57" y="5"/>
                </a:cubicBezTo>
                <a:cubicBezTo>
                  <a:pt x="55" y="2"/>
                  <a:pt x="52" y="0"/>
                  <a:pt x="48" y="0"/>
                </a:cubicBezTo>
                <a:cubicBezTo>
                  <a:pt x="44" y="0"/>
                  <a:pt x="41" y="2"/>
                  <a:pt x="39" y="5"/>
                </a:cubicBezTo>
                <a:cubicBezTo>
                  <a:pt x="37" y="3"/>
                  <a:pt x="33" y="2"/>
                  <a:pt x="30" y="4"/>
                </a:cubicBezTo>
                <a:cubicBezTo>
                  <a:pt x="26" y="5"/>
                  <a:pt x="24" y="8"/>
                  <a:pt x="24" y="11"/>
                </a:cubicBezTo>
                <a:cubicBezTo>
                  <a:pt x="20" y="11"/>
                  <a:pt x="17" y="12"/>
                  <a:pt x="14" y="14"/>
                </a:cubicBezTo>
                <a:cubicBezTo>
                  <a:pt x="12" y="17"/>
                  <a:pt x="11" y="20"/>
                  <a:pt x="11" y="24"/>
                </a:cubicBezTo>
                <a:cubicBezTo>
                  <a:pt x="8" y="24"/>
                  <a:pt x="5" y="26"/>
                  <a:pt x="4" y="30"/>
                </a:cubicBezTo>
                <a:cubicBezTo>
                  <a:pt x="2" y="33"/>
                  <a:pt x="3" y="37"/>
                  <a:pt x="5" y="39"/>
                </a:cubicBezTo>
                <a:cubicBezTo>
                  <a:pt x="2" y="41"/>
                  <a:pt x="0" y="44"/>
                  <a:pt x="0" y="48"/>
                </a:cubicBezTo>
                <a:cubicBezTo>
                  <a:pt x="0" y="52"/>
                  <a:pt x="2" y="55"/>
                  <a:pt x="5" y="57"/>
                </a:cubicBezTo>
                <a:cubicBezTo>
                  <a:pt x="3" y="59"/>
                  <a:pt x="2" y="63"/>
                  <a:pt x="4" y="66"/>
                </a:cubicBezTo>
                <a:cubicBezTo>
                  <a:pt x="5" y="70"/>
                  <a:pt x="8" y="72"/>
                  <a:pt x="11" y="72"/>
                </a:cubicBezTo>
                <a:cubicBezTo>
                  <a:pt x="11" y="76"/>
                  <a:pt x="12" y="79"/>
                  <a:pt x="14" y="82"/>
                </a:cubicBezTo>
                <a:cubicBezTo>
                  <a:pt x="17" y="84"/>
                  <a:pt x="20" y="85"/>
                  <a:pt x="24" y="85"/>
                </a:cubicBezTo>
                <a:cubicBezTo>
                  <a:pt x="24" y="88"/>
                  <a:pt x="26" y="91"/>
                  <a:pt x="30" y="92"/>
                </a:cubicBezTo>
                <a:cubicBezTo>
                  <a:pt x="33" y="94"/>
                  <a:pt x="37" y="93"/>
                  <a:pt x="39" y="91"/>
                </a:cubicBezTo>
                <a:cubicBezTo>
                  <a:pt x="41" y="94"/>
                  <a:pt x="44" y="96"/>
                  <a:pt x="48" y="96"/>
                </a:cubicBezTo>
                <a:cubicBezTo>
                  <a:pt x="52" y="96"/>
                  <a:pt x="55" y="94"/>
                  <a:pt x="57" y="91"/>
                </a:cubicBezTo>
                <a:cubicBezTo>
                  <a:pt x="59" y="93"/>
                  <a:pt x="63" y="94"/>
                  <a:pt x="66" y="92"/>
                </a:cubicBezTo>
                <a:cubicBezTo>
                  <a:pt x="70" y="91"/>
                  <a:pt x="72" y="88"/>
                  <a:pt x="72" y="85"/>
                </a:cubicBezTo>
                <a:cubicBezTo>
                  <a:pt x="76" y="85"/>
                  <a:pt x="79" y="84"/>
                  <a:pt x="82" y="82"/>
                </a:cubicBezTo>
                <a:cubicBezTo>
                  <a:pt x="84" y="79"/>
                  <a:pt x="85" y="76"/>
                  <a:pt x="85" y="72"/>
                </a:cubicBezTo>
                <a:cubicBezTo>
                  <a:pt x="88" y="72"/>
                  <a:pt x="91" y="70"/>
                  <a:pt x="92" y="66"/>
                </a:cubicBezTo>
                <a:cubicBezTo>
                  <a:pt x="94" y="63"/>
                  <a:pt x="93" y="59"/>
                  <a:pt x="91" y="57"/>
                </a:cubicBezTo>
                <a:cubicBezTo>
                  <a:pt x="94" y="55"/>
                  <a:pt x="96" y="52"/>
                  <a:pt x="96" y="48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525584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AA429E31-58A5-4A1F-9D31-51F4704F063D}"/>
              </a:ext>
            </a:extLst>
          </p:cNvPr>
          <p:cNvSpPr/>
          <p:nvPr/>
        </p:nvSpPr>
        <p:spPr>
          <a:xfrm>
            <a:off x="1117601" y="1524000"/>
            <a:ext cx="7583943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EDF50600-4FD6-439D-8EA8-A0F8D50AAFDD}"/>
              </a:ext>
            </a:extLst>
          </p:cNvPr>
          <p:cNvSpPr/>
          <p:nvPr/>
        </p:nvSpPr>
        <p:spPr>
          <a:xfrm>
            <a:off x="533400" y="1524000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D48D0B5D-0E27-4226-B0CC-C7FA92A82A22}"/>
              </a:ext>
            </a:extLst>
          </p:cNvPr>
          <p:cNvSpPr/>
          <p:nvPr/>
        </p:nvSpPr>
        <p:spPr>
          <a:xfrm>
            <a:off x="2108200" y="3207408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09835726-1E9C-452A-B251-1451311B79A2}"/>
              </a:ext>
            </a:extLst>
          </p:cNvPr>
          <p:cNvSpPr/>
          <p:nvPr/>
        </p:nvSpPr>
        <p:spPr>
          <a:xfrm>
            <a:off x="2108200" y="3207408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BBB3EC5C-01C5-4156-AC74-42F91A1CE772}"/>
              </a:ext>
            </a:extLst>
          </p:cNvPr>
          <p:cNvSpPr/>
          <p:nvPr/>
        </p:nvSpPr>
        <p:spPr>
          <a:xfrm>
            <a:off x="3683000" y="4890816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16D312A6-692E-4423-AF78-5FC14596B35C}"/>
              </a:ext>
            </a:extLst>
          </p:cNvPr>
          <p:cNvSpPr/>
          <p:nvPr/>
        </p:nvSpPr>
        <p:spPr>
          <a:xfrm>
            <a:off x="3683000" y="4890816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B54348-83A8-4070-A5E3-9DF6DBBF7080}"/>
              </a:ext>
            </a:extLst>
          </p:cNvPr>
          <p:cNvSpPr txBox="1"/>
          <p:nvPr/>
        </p:nvSpPr>
        <p:spPr>
          <a:xfrm>
            <a:off x="2371637" y="1915568"/>
            <a:ext cx="4953724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ổng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qua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575197-5251-4F42-9727-721D9165D31C}"/>
              </a:ext>
            </a:extLst>
          </p:cNvPr>
          <p:cNvSpPr txBox="1"/>
          <p:nvPr/>
        </p:nvSpPr>
        <p:spPr>
          <a:xfrm>
            <a:off x="3955041" y="3593811"/>
            <a:ext cx="4284223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>
                <a:solidFill>
                  <a:schemeClr val="bg1"/>
                </a:solidFill>
              </a:rPr>
              <a:t>Demo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190596-523A-4E6A-BCF6-BED12CD51FB6}"/>
              </a:ext>
            </a:extLst>
          </p:cNvPr>
          <p:cNvSpPr txBox="1"/>
          <p:nvPr/>
        </p:nvSpPr>
        <p:spPr>
          <a:xfrm>
            <a:off x="5528607" y="5282384"/>
            <a:ext cx="3172935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riể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khai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512CC1-0835-4A9D-A8ED-36787F3855BC}"/>
              </a:ext>
            </a:extLst>
          </p:cNvPr>
          <p:cNvCxnSpPr>
            <a:cxnSpLocks/>
          </p:cNvCxnSpPr>
          <p:nvPr/>
        </p:nvCxnSpPr>
        <p:spPr>
          <a:xfrm>
            <a:off x="10541820" y="2648346"/>
            <a:ext cx="1650181" cy="32688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3" name="Freeform 176">
            <a:extLst>
              <a:ext uri="{FF2B5EF4-FFF2-40B4-BE49-F238E27FC236}">
                <a16:creationId xmlns:a16="http://schemas.microsoft.com/office/drawing/2014/main" id="{3030EB6F-4D84-4EF5-8813-4EAFA6394828}"/>
              </a:ext>
            </a:extLst>
          </p:cNvPr>
          <p:cNvSpPr>
            <a:spLocks noEditPoints="1"/>
          </p:cNvSpPr>
          <p:nvPr/>
        </p:nvSpPr>
        <p:spPr bwMode="auto">
          <a:xfrm>
            <a:off x="1079502" y="1936895"/>
            <a:ext cx="482599" cy="531796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41 w 87"/>
              <a:gd name="T35" fmla="*/ 60 h 96"/>
              <a:gd name="T36" fmla="*/ 40 w 87"/>
              <a:gd name="T37" fmla="*/ 60 h 96"/>
              <a:gd name="T38" fmla="*/ 39 w 87"/>
              <a:gd name="T39" fmla="*/ 60 h 96"/>
              <a:gd name="T40" fmla="*/ 18 w 87"/>
              <a:gd name="T41" fmla="*/ 33 h 96"/>
              <a:gd name="T42" fmla="*/ 30 w 87"/>
              <a:gd name="T43" fmla="*/ 20 h 96"/>
              <a:gd name="T44" fmla="*/ 40 w 87"/>
              <a:gd name="T45" fmla="*/ 26 h 96"/>
              <a:gd name="T46" fmla="*/ 50 w 87"/>
              <a:gd name="T47" fmla="*/ 20 h 96"/>
              <a:gd name="T48" fmla="*/ 62 w 87"/>
              <a:gd name="T49" fmla="*/ 33 h 96"/>
              <a:gd name="T50" fmla="*/ 41 w 87"/>
              <a:gd name="T5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41" y="60"/>
                </a:moveTo>
                <a:cubicBezTo>
                  <a:pt x="41" y="60"/>
                  <a:pt x="40" y="60"/>
                  <a:pt x="40" y="60"/>
                </a:cubicBezTo>
                <a:cubicBezTo>
                  <a:pt x="40" y="60"/>
                  <a:pt x="39" y="60"/>
                  <a:pt x="39" y="60"/>
                </a:cubicBezTo>
                <a:cubicBezTo>
                  <a:pt x="37" y="58"/>
                  <a:pt x="18" y="45"/>
                  <a:pt x="18" y="33"/>
                </a:cubicBezTo>
                <a:cubicBezTo>
                  <a:pt x="18" y="25"/>
                  <a:pt x="24" y="20"/>
                  <a:pt x="30" y="20"/>
                </a:cubicBezTo>
                <a:cubicBezTo>
                  <a:pt x="33" y="20"/>
                  <a:pt x="37" y="22"/>
                  <a:pt x="40" y="26"/>
                </a:cubicBezTo>
                <a:cubicBezTo>
                  <a:pt x="43" y="22"/>
                  <a:pt x="47" y="20"/>
                  <a:pt x="50" y="20"/>
                </a:cubicBezTo>
                <a:cubicBezTo>
                  <a:pt x="56" y="20"/>
                  <a:pt x="62" y="25"/>
                  <a:pt x="62" y="33"/>
                </a:cubicBezTo>
                <a:cubicBezTo>
                  <a:pt x="62" y="45"/>
                  <a:pt x="43" y="58"/>
                  <a:pt x="41" y="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  <p:sp>
        <p:nvSpPr>
          <p:cNvPr id="64" name="Freeform 93">
            <a:extLst>
              <a:ext uri="{FF2B5EF4-FFF2-40B4-BE49-F238E27FC236}">
                <a16:creationId xmlns:a16="http://schemas.microsoft.com/office/drawing/2014/main" id="{A0516EBA-55DC-4E84-BBE3-65AA3D6EDC55}"/>
              </a:ext>
            </a:extLst>
          </p:cNvPr>
          <p:cNvSpPr>
            <a:spLocks noEditPoints="1"/>
          </p:cNvSpPr>
          <p:nvPr/>
        </p:nvSpPr>
        <p:spPr bwMode="auto">
          <a:xfrm>
            <a:off x="2655096" y="3645696"/>
            <a:ext cx="481011" cy="481011"/>
          </a:xfrm>
          <a:custGeom>
            <a:avLst/>
            <a:gdLst>
              <a:gd name="T0" fmla="*/ 96 w 96"/>
              <a:gd name="T1" fmla="*/ 11 h 96"/>
              <a:gd name="T2" fmla="*/ 96 w 96"/>
              <a:gd name="T3" fmla="*/ 10 h 96"/>
              <a:gd name="T4" fmla="*/ 95 w 96"/>
              <a:gd name="T5" fmla="*/ 9 h 96"/>
              <a:gd name="T6" fmla="*/ 94 w 96"/>
              <a:gd name="T7" fmla="*/ 8 h 96"/>
              <a:gd name="T8" fmla="*/ 86 w 96"/>
              <a:gd name="T9" fmla="*/ 8 h 96"/>
              <a:gd name="T10" fmla="*/ 86 w 96"/>
              <a:gd name="T11" fmla="*/ 2 h 96"/>
              <a:gd name="T12" fmla="*/ 84 w 96"/>
              <a:gd name="T13" fmla="*/ 0 h 96"/>
              <a:gd name="T14" fmla="*/ 12 w 96"/>
              <a:gd name="T15" fmla="*/ 0 h 96"/>
              <a:gd name="T16" fmla="*/ 10 w 96"/>
              <a:gd name="T17" fmla="*/ 2 h 96"/>
              <a:gd name="T18" fmla="*/ 10 w 96"/>
              <a:gd name="T19" fmla="*/ 8 h 96"/>
              <a:gd name="T20" fmla="*/ 2 w 96"/>
              <a:gd name="T21" fmla="*/ 8 h 96"/>
              <a:gd name="T22" fmla="*/ 0 w 96"/>
              <a:gd name="T23" fmla="*/ 10 h 96"/>
              <a:gd name="T24" fmla="*/ 0 w 96"/>
              <a:gd name="T25" fmla="*/ 11 h 96"/>
              <a:gd name="T26" fmla="*/ 7 w 96"/>
              <a:gd name="T27" fmla="*/ 39 h 96"/>
              <a:gd name="T28" fmla="*/ 19 w 96"/>
              <a:gd name="T29" fmla="*/ 44 h 96"/>
              <a:gd name="T30" fmla="*/ 33 w 96"/>
              <a:gd name="T31" fmla="*/ 56 h 96"/>
              <a:gd name="T32" fmla="*/ 42 w 96"/>
              <a:gd name="T33" fmla="*/ 68 h 96"/>
              <a:gd name="T34" fmla="*/ 26 w 96"/>
              <a:gd name="T35" fmla="*/ 84 h 96"/>
              <a:gd name="T36" fmla="*/ 24 w 96"/>
              <a:gd name="T37" fmla="*/ 86 h 96"/>
              <a:gd name="T38" fmla="*/ 24 w 96"/>
              <a:gd name="T39" fmla="*/ 94 h 96"/>
              <a:gd name="T40" fmla="*/ 26 w 96"/>
              <a:gd name="T41" fmla="*/ 96 h 96"/>
              <a:gd name="T42" fmla="*/ 70 w 96"/>
              <a:gd name="T43" fmla="*/ 96 h 96"/>
              <a:gd name="T44" fmla="*/ 72 w 96"/>
              <a:gd name="T45" fmla="*/ 94 h 96"/>
              <a:gd name="T46" fmla="*/ 72 w 96"/>
              <a:gd name="T47" fmla="*/ 86 h 96"/>
              <a:gd name="T48" fmla="*/ 70 w 96"/>
              <a:gd name="T49" fmla="*/ 84 h 96"/>
              <a:gd name="T50" fmla="*/ 54 w 96"/>
              <a:gd name="T51" fmla="*/ 68 h 96"/>
              <a:gd name="T52" fmla="*/ 63 w 96"/>
              <a:gd name="T53" fmla="*/ 55 h 96"/>
              <a:gd name="T54" fmla="*/ 77 w 96"/>
              <a:gd name="T55" fmla="*/ 44 h 96"/>
              <a:gd name="T56" fmla="*/ 88 w 96"/>
              <a:gd name="T57" fmla="*/ 39 h 96"/>
              <a:gd name="T58" fmla="*/ 96 w 96"/>
              <a:gd name="T59" fmla="*/ 11 h 96"/>
              <a:gd name="T60" fmla="*/ 61 w 96"/>
              <a:gd name="T61" fmla="*/ 24 h 96"/>
              <a:gd name="T62" fmla="*/ 56 w 96"/>
              <a:gd name="T63" fmla="*/ 28 h 96"/>
              <a:gd name="T64" fmla="*/ 58 w 96"/>
              <a:gd name="T65" fmla="*/ 35 h 96"/>
              <a:gd name="T66" fmla="*/ 57 w 96"/>
              <a:gd name="T67" fmla="*/ 38 h 96"/>
              <a:gd name="T68" fmla="*/ 56 w 96"/>
              <a:gd name="T69" fmla="*/ 38 h 96"/>
              <a:gd name="T70" fmla="*/ 55 w 96"/>
              <a:gd name="T71" fmla="*/ 38 h 96"/>
              <a:gd name="T72" fmla="*/ 48 w 96"/>
              <a:gd name="T73" fmla="*/ 32 h 96"/>
              <a:gd name="T74" fmla="*/ 41 w 96"/>
              <a:gd name="T75" fmla="*/ 38 h 96"/>
              <a:gd name="T76" fmla="*/ 39 w 96"/>
              <a:gd name="T77" fmla="*/ 38 h 96"/>
              <a:gd name="T78" fmla="*/ 38 w 96"/>
              <a:gd name="T79" fmla="*/ 35 h 96"/>
              <a:gd name="T80" fmla="*/ 41 w 96"/>
              <a:gd name="T81" fmla="*/ 28 h 96"/>
              <a:gd name="T82" fmla="*/ 35 w 96"/>
              <a:gd name="T83" fmla="*/ 24 h 96"/>
              <a:gd name="T84" fmla="*/ 34 w 96"/>
              <a:gd name="T85" fmla="*/ 21 h 96"/>
              <a:gd name="T86" fmla="*/ 36 w 96"/>
              <a:gd name="T87" fmla="*/ 20 h 96"/>
              <a:gd name="T88" fmla="*/ 43 w 96"/>
              <a:gd name="T89" fmla="*/ 20 h 96"/>
              <a:gd name="T90" fmla="*/ 46 w 96"/>
              <a:gd name="T91" fmla="*/ 13 h 96"/>
              <a:gd name="T92" fmla="*/ 50 w 96"/>
              <a:gd name="T93" fmla="*/ 13 h 96"/>
              <a:gd name="T94" fmla="*/ 53 w 96"/>
              <a:gd name="T95" fmla="*/ 20 h 96"/>
              <a:gd name="T96" fmla="*/ 60 w 96"/>
              <a:gd name="T97" fmla="*/ 20 h 96"/>
              <a:gd name="T98" fmla="*/ 62 w 96"/>
              <a:gd name="T99" fmla="*/ 21 h 96"/>
              <a:gd name="T100" fmla="*/ 61 w 96"/>
              <a:gd name="T101" fmla="*/ 24 h 96"/>
              <a:gd name="T102" fmla="*/ 10 w 96"/>
              <a:gd name="T103" fmla="*/ 36 h 96"/>
              <a:gd name="T104" fmla="*/ 4 w 96"/>
              <a:gd name="T105" fmla="*/ 12 h 96"/>
              <a:gd name="T106" fmla="*/ 10 w 96"/>
              <a:gd name="T107" fmla="*/ 12 h 96"/>
              <a:gd name="T108" fmla="*/ 17 w 96"/>
              <a:gd name="T109" fmla="*/ 40 h 96"/>
              <a:gd name="T110" fmla="*/ 10 w 96"/>
              <a:gd name="T111" fmla="*/ 36 h 96"/>
              <a:gd name="T112" fmla="*/ 86 w 96"/>
              <a:gd name="T113" fmla="*/ 36 h 96"/>
              <a:gd name="T114" fmla="*/ 79 w 96"/>
              <a:gd name="T115" fmla="*/ 40 h 96"/>
              <a:gd name="T116" fmla="*/ 86 w 96"/>
              <a:gd name="T117" fmla="*/ 12 h 96"/>
              <a:gd name="T118" fmla="*/ 92 w 96"/>
              <a:gd name="T119" fmla="*/ 12 h 96"/>
              <a:gd name="T120" fmla="*/ 86 w 96"/>
              <a:gd name="T121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6" h="96">
                <a:moveTo>
                  <a:pt x="96" y="11"/>
                </a:moveTo>
                <a:cubicBezTo>
                  <a:pt x="96" y="10"/>
                  <a:pt x="96" y="10"/>
                  <a:pt x="96" y="10"/>
                </a:cubicBezTo>
                <a:cubicBezTo>
                  <a:pt x="96" y="9"/>
                  <a:pt x="96" y="9"/>
                  <a:pt x="95" y="9"/>
                </a:cubicBezTo>
                <a:cubicBezTo>
                  <a:pt x="95" y="8"/>
                  <a:pt x="95" y="8"/>
                  <a:pt x="94" y="8"/>
                </a:cubicBezTo>
                <a:cubicBezTo>
                  <a:pt x="86" y="8"/>
                  <a:pt x="86" y="8"/>
                  <a:pt x="86" y="8"/>
                </a:cubicBezTo>
                <a:cubicBezTo>
                  <a:pt x="86" y="6"/>
                  <a:pt x="86" y="4"/>
                  <a:pt x="86" y="2"/>
                </a:cubicBezTo>
                <a:cubicBezTo>
                  <a:pt x="86" y="1"/>
                  <a:pt x="85" y="0"/>
                  <a:pt x="84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1" y="0"/>
                  <a:pt x="10" y="1"/>
                  <a:pt x="10" y="2"/>
                </a:cubicBezTo>
                <a:cubicBezTo>
                  <a:pt x="10" y="4"/>
                  <a:pt x="10" y="6"/>
                  <a:pt x="10" y="8"/>
                </a:cubicBezTo>
                <a:cubicBezTo>
                  <a:pt x="2" y="8"/>
                  <a:pt x="2" y="8"/>
                  <a:pt x="2" y="8"/>
                </a:cubicBezTo>
                <a:cubicBezTo>
                  <a:pt x="1" y="8"/>
                  <a:pt x="0" y="9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7"/>
                  <a:pt x="0" y="31"/>
                  <a:pt x="7" y="39"/>
                </a:cubicBezTo>
                <a:cubicBezTo>
                  <a:pt x="11" y="42"/>
                  <a:pt x="15" y="44"/>
                  <a:pt x="19" y="44"/>
                </a:cubicBezTo>
                <a:cubicBezTo>
                  <a:pt x="24" y="50"/>
                  <a:pt x="29" y="53"/>
                  <a:pt x="33" y="56"/>
                </a:cubicBezTo>
                <a:cubicBezTo>
                  <a:pt x="38" y="59"/>
                  <a:pt x="42" y="61"/>
                  <a:pt x="42" y="68"/>
                </a:cubicBezTo>
                <a:cubicBezTo>
                  <a:pt x="42" y="78"/>
                  <a:pt x="39" y="84"/>
                  <a:pt x="26" y="84"/>
                </a:cubicBezTo>
                <a:cubicBezTo>
                  <a:pt x="25" y="84"/>
                  <a:pt x="24" y="85"/>
                  <a:pt x="24" y="86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95"/>
                  <a:pt x="25" y="96"/>
                  <a:pt x="26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86"/>
                  <a:pt x="72" y="86"/>
                  <a:pt x="72" y="86"/>
                </a:cubicBezTo>
                <a:cubicBezTo>
                  <a:pt x="72" y="85"/>
                  <a:pt x="71" y="84"/>
                  <a:pt x="70" y="84"/>
                </a:cubicBezTo>
                <a:cubicBezTo>
                  <a:pt x="59" y="84"/>
                  <a:pt x="54" y="79"/>
                  <a:pt x="54" y="68"/>
                </a:cubicBezTo>
                <a:cubicBezTo>
                  <a:pt x="54" y="61"/>
                  <a:pt x="58" y="59"/>
                  <a:pt x="63" y="55"/>
                </a:cubicBezTo>
                <a:cubicBezTo>
                  <a:pt x="67" y="53"/>
                  <a:pt x="72" y="50"/>
                  <a:pt x="77" y="44"/>
                </a:cubicBezTo>
                <a:cubicBezTo>
                  <a:pt x="81" y="44"/>
                  <a:pt x="85" y="42"/>
                  <a:pt x="88" y="39"/>
                </a:cubicBezTo>
                <a:cubicBezTo>
                  <a:pt x="96" y="31"/>
                  <a:pt x="96" y="16"/>
                  <a:pt x="96" y="11"/>
                </a:cubicBezTo>
                <a:close/>
                <a:moveTo>
                  <a:pt x="61" y="24"/>
                </a:moveTo>
                <a:cubicBezTo>
                  <a:pt x="56" y="28"/>
                  <a:pt x="56" y="28"/>
                  <a:pt x="56" y="28"/>
                </a:cubicBezTo>
                <a:cubicBezTo>
                  <a:pt x="58" y="35"/>
                  <a:pt x="58" y="35"/>
                  <a:pt x="58" y="35"/>
                </a:cubicBezTo>
                <a:cubicBezTo>
                  <a:pt x="58" y="36"/>
                  <a:pt x="58" y="37"/>
                  <a:pt x="57" y="38"/>
                </a:cubicBezTo>
                <a:cubicBezTo>
                  <a:pt x="57" y="38"/>
                  <a:pt x="56" y="38"/>
                  <a:pt x="56" y="38"/>
                </a:cubicBezTo>
                <a:cubicBezTo>
                  <a:pt x="55" y="38"/>
                  <a:pt x="55" y="38"/>
                  <a:pt x="55" y="38"/>
                </a:cubicBezTo>
                <a:cubicBezTo>
                  <a:pt x="48" y="32"/>
                  <a:pt x="48" y="32"/>
                  <a:pt x="48" y="32"/>
                </a:cubicBezTo>
                <a:cubicBezTo>
                  <a:pt x="41" y="38"/>
                  <a:pt x="41" y="38"/>
                  <a:pt x="41" y="38"/>
                </a:cubicBezTo>
                <a:cubicBezTo>
                  <a:pt x="40" y="38"/>
                  <a:pt x="39" y="38"/>
                  <a:pt x="39" y="38"/>
                </a:cubicBezTo>
                <a:cubicBezTo>
                  <a:pt x="38" y="37"/>
                  <a:pt x="38" y="36"/>
                  <a:pt x="38" y="35"/>
                </a:cubicBezTo>
                <a:cubicBezTo>
                  <a:pt x="41" y="28"/>
                  <a:pt x="41" y="28"/>
                  <a:pt x="41" y="28"/>
                </a:cubicBezTo>
                <a:cubicBezTo>
                  <a:pt x="35" y="24"/>
                  <a:pt x="35" y="24"/>
                  <a:pt x="35" y="24"/>
                </a:cubicBezTo>
                <a:cubicBezTo>
                  <a:pt x="34" y="23"/>
                  <a:pt x="34" y="22"/>
                  <a:pt x="34" y="21"/>
                </a:cubicBezTo>
                <a:cubicBezTo>
                  <a:pt x="34" y="21"/>
                  <a:pt x="35" y="20"/>
                  <a:pt x="36" y="20"/>
                </a:cubicBezTo>
                <a:cubicBezTo>
                  <a:pt x="43" y="20"/>
                  <a:pt x="43" y="20"/>
                  <a:pt x="43" y="20"/>
                </a:cubicBezTo>
                <a:cubicBezTo>
                  <a:pt x="46" y="13"/>
                  <a:pt x="46" y="13"/>
                  <a:pt x="46" y="13"/>
                </a:cubicBezTo>
                <a:cubicBezTo>
                  <a:pt x="47" y="12"/>
                  <a:pt x="49" y="12"/>
                  <a:pt x="50" y="13"/>
                </a:cubicBezTo>
                <a:cubicBezTo>
                  <a:pt x="53" y="20"/>
                  <a:pt x="53" y="20"/>
                  <a:pt x="53" y="20"/>
                </a:cubicBezTo>
                <a:cubicBezTo>
                  <a:pt x="60" y="20"/>
                  <a:pt x="60" y="20"/>
                  <a:pt x="60" y="20"/>
                </a:cubicBezTo>
                <a:cubicBezTo>
                  <a:pt x="61" y="20"/>
                  <a:pt x="62" y="21"/>
                  <a:pt x="62" y="21"/>
                </a:cubicBezTo>
                <a:cubicBezTo>
                  <a:pt x="62" y="22"/>
                  <a:pt x="62" y="23"/>
                  <a:pt x="61" y="24"/>
                </a:cubicBezTo>
                <a:close/>
                <a:moveTo>
                  <a:pt x="10" y="36"/>
                </a:moveTo>
                <a:cubicBezTo>
                  <a:pt x="4" y="30"/>
                  <a:pt x="4" y="18"/>
                  <a:pt x="4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11" y="25"/>
                  <a:pt x="14" y="33"/>
                  <a:pt x="17" y="40"/>
                </a:cubicBezTo>
                <a:cubicBezTo>
                  <a:pt x="14" y="39"/>
                  <a:pt x="12" y="38"/>
                  <a:pt x="10" y="36"/>
                </a:cubicBezTo>
                <a:close/>
                <a:moveTo>
                  <a:pt x="86" y="36"/>
                </a:moveTo>
                <a:cubicBezTo>
                  <a:pt x="84" y="38"/>
                  <a:pt x="82" y="39"/>
                  <a:pt x="79" y="40"/>
                </a:cubicBezTo>
                <a:cubicBezTo>
                  <a:pt x="82" y="33"/>
                  <a:pt x="85" y="25"/>
                  <a:pt x="86" y="12"/>
                </a:cubicBezTo>
                <a:cubicBezTo>
                  <a:pt x="92" y="12"/>
                  <a:pt x="92" y="12"/>
                  <a:pt x="92" y="12"/>
                </a:cubicBezTo>
                <a:cubicBezTo>
                  <a:pt x="92" y="18"/>
                  <a:pt x="92" y="30"/>
                  <a:pt x="86" y="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  <p:sp>
        <p:nvSpPr>
          <p:cNvPr id="65" name="Freeform 13">
            <a:extLst>
              <a:ext uri="{FF2B5EF4-FFF2-40B4-BE49-F238E27FC236}">
                <a16:creationId xmlns:a16="http://schemas.microsoft.com/office/drawing/2014/main" id="{10068C04-224B-4605-A735-72275D814B0D}"/>
              </a:ext>
            </a:extLst>
          </p:cNvPr>
          <p:cNvSpPr>
            <a:spLocks noEditPoints="1"/>
          </p:cNvSpPr>
          <p:nvPr/>
        </p:nvSpPr>
        <p:spPr bwMode="auto">
          <a:xfrm>
            <a:off x="4223544" y="5320579"/>
            <a:ext cx="493712" cy="498060"/>
          </a:xfrm>
          <a:custGeom>
            <a:avLst/>
            <a:gdLst>
              <a:gd name="T0" fmla="*/ 96 w 96"/>
              <a:gd name="T1" fmla="*/ 48 h 96"/>
              <a:gd name="T2" fmla="*/ 91 w 96"/>
              <a:gd name="T3" fmla="*/ 39 h 96"/>
              <a:gd name="T4" fmla="*/ 92 w 96"/>
              <a:gd name="T5" fmla="*/ 30 h 96"/>
              <a:gd name="T6" fmla="*/ 85 w 96"/>
              <a:gd name="T7" fmla="*/ 24 h 96"/>
              <a:gd name="T8" fmla="*/ 82 w 96"/>
              <a:gd name="T9" fmla="*/ 14 h 96"/>
              <a:gd name="T10" fmla="*/ 72 w 96"/>
              <a:gd name="T11" fmla="*/ 11 h 96"/>
              <a:gd name="T12" fmla="*/ 66 w 96"/>
              <a:gd name="T13" fmla="*/ 4 h 96"/>
              <a:gd name="T14" fmla="*/ 57 w 96"/>
              <a:gd name="T15" fmla="*/ 5 h 96"/>
              <a:gd name="T16" fmla="*/ 48 w 96"/>
              <a:gd name="T17" fmla="*/ 0 h 96"/>
              <a:gd name="T18" fmla="*/ 39 w 96"/>
              <a:gd name="T19" fmla="*/ 5 h 96"/>
              <a:gd name="T20" fmla="*/ 30 w 96"/>
              <a:gd name="T21" fmla="*/ 4 h 96"/>
              <a:gd name="T22" fmla="*/ 24 w 96"/>
              <a:gd name="T23" fmla="*/ 11 h 96"/>
              <a:gd name="T24" fmla="*/ 14 w 96"/>
              <a:gd name="T25" fmla="*/ 14 h 96"/>
              <a:gd name="T26" fmla="*/ 11 w 96"/>
              <a:gd name="T27" fmla="*/ 24 h 96"/>
              <a:gd name="T28" fmla="*/ 4 w 96"/>
              <a:gd name="T29" fmla="*/ 30 h 96"/>
              <a:gd name="T30" fmla="*/ 5 w 96"/>
              <a:gd name="T31" fmla="*/ 39 h 96"/>
              <a:gd name="T32" fmla="*/ 0 w 96"/>
              <a:gd name="T33" fmla="*/ 48 h 96"/>
              <a:gd name="T34" fmla="*/ 5 w 96"/>
              <a:gd name="T35" fmla="*/ 57 h 96"/>
              <a:gd name="T36" fmla="*/ 4 w 96"/>
              <a:gd name="T37" fmla="*/ 66 h 96"/>
              <a:gd name="T38" fmla="*/ 11 w 96"/>
              <a:gd name="T39" fmla="*/ 72 h 96"/>
              <a:gd name="T40" fmla="*/ 14 w 96"/>
              <a:gd name="T41" fmla="*/ 82 h 96"/>
              <a:gd name="T42" fmla="*/ 24 w 96"/>
              <a:gd name="T43" fmla="*/ 85 h 96"/>
              <a:gd name="T44" fmla="*/ 30 w 96"/>
              <a:gd name="T45" fmla="*/ 92 h 96"/>
              <a:gd name="T46" fmla="*/ 39 w 96"/>
              <a:gd name="T47" fmla="*/ 91 h 96"/>
              <a:gd name="T48" fmla="*/ 48 w 96"/>
              <a:gd name="T49" fmla="*/ 96 h 96"/>
              <a:gd name="T50" fmla="*/ 57 w 96"/>
              <a:gd name="T51" fmla="*/ 91 h 96"/>
              <a:gd name="T52" fmla="*/ 66 w 96"/>
              <a:gd name="T53" fmla="*/ 92 h 96"/>
              <a:gd name="T54" fmla="*/ 72 w 96"/>
              <a:gd name="T55" fmla="*/ 85 h 96"/>
              <a:gd name="T56" fmla="*/ 82 w 96"/>
              <a:gd name="T57" fmla="*/ 82 h 96"/>
              <a:gd name="T58" fmla="*/ 85 w 96"/>
              <a:gd name="T59" fmla="*/ 72 h 96"/>
              <a:gd name="T60" fmla="*/ 92 w 96"/>
              <a:gd name="T61" fmla="*/ 66 h 96"/>
              <a:gd name="T62" fmla="*/ 91 w 96"/>
              <a:gd name="T63" fmla="*/ 57 h 96"/>
              <a:gd name="T64" fmla="*/ 96 w 96"/>
              <a:gd name="T65" fmla="*/ 48 h 96"/>
              <a:gd name="T66" fmla="*/ 69 w 96"/>
              <a:gd name="T67" fmla="*/ 35 h 96"/>
              <a:gd name="T68" fmla="*/ 39 w 96"/>
              <a:gd name="T69" fmla="*/ 63 h 96"/>
              <a:gd name="T70" fmla="*/ 38 w 96"/>
              <a:gd name="T71" fmla="*/ 64 h 96"/>
              <a:gd name="T72" fmla="*/ 37 w 96"/>
              <a:gd name="T73" fmla="*/ 63 h 96"/>
              <a:gd name="T74" fmla="*/ 27 w 96"/>
              <a:gd name="T75" fmla="*/ 53 h 96"/>
              <a:gd name="T76" fmla="*/ 27 w 96"/>
              <a:gd name="T77" fmla="*/ 51 h 96"/>
              <a:gd name="T78" fmla="*/ 29 w 96"/>
              <a:gd name="T79" fmla="*/ 51 h 96"/>
              <a:gd name="T80" fmla="*/ 38 w 96"/>
              <a:gd name="T81" fmla="*/ 59 h 96"/>
              <a:gd name="T82" fmla="*/ 67 w 96"/>
              <a:gd name="T83" fmla="*/ 33 h 96"/>
              <a:gd name="T84" fmla="*/ 69 w 96"/>
              <a:gd name="T85" fmla="*/ 33 h 96"/>
              <a:gd name="T86" fmla="*/ 69 w 96"/>
              <a:gd name="T87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4"/>
                  <a:pt x="94" y="41"/>
                  <a:pt x="91" y="39"/>
                </a:cubicBezTo>
                <a:cubicBezTo>
                  <a:pt x="93" y="37"/>
                  <a:pt x="94" y="33"/>
                  <a:pt x="92" y="30"/>
                </a:cubicBezTo>
                <a:cubicBezTo>
                  <a:pt x="91" y="26"/>
                  <a:pt x="88" y="24"/>
                  <a:pt x="85" y="24"/>
                </a:cubicBezTo>
                <a:cubicBezTo>
                  <a:pt x="85" y="20"/>
                  <a:pt x="84" y="17"/>
                  <a:pt x="82" y="14"/>
                </a:cubicBezTo>
                <a:cubicBezTo>
                  <a:pt x="79" y="12"/>
                  <a:pt x="76" y="11"/>
                  <a:pt x="72" y="11"/>
                </a:cubicBezTo>
                <a:cubicBezTo>
                  <a:pt x="72" y="8"/>
                  <a:pt x="70" y="5"/>
                  <a:pt x="66" y="4"/>
                </a:cubicBezTo>
                <a:cubicBezTo>
                  <a:pt x="63" y="2"/>
                  <a:pt x="59" y="3"/>
                  <a:pt x="57" y="5"/>
                </a:cubicBezTo>
                <a:cubicBezTo>
                  <a:pt x="55" y="2"/>
                  <a:pt x="52" y="0"/>
                  <a:pt x="48" y="0"/>
                </a:cubicBezTo>
                <a:cubicBezTo>
                  <a:pt x="44" y="0"/>
                  <a:pt x="41" y="2"/>
                  <a:pt x="39" y="5"/>
                </a:cubicBezTo>
                <a:cubicBezTo>
                  <a:pt x="37" y="3"/>
                  <a:pt x="33" y="2"/>
                  <a:pt x="30" y="4"/>
                </a:cubicBezTo>
                <a:cubicBezTo>
                  <a:pt x="26" y="5"/>
                  <a:pt x="24" y="8"/>
                  <a:pt x="24" y="11"/>
                </a:cubicBezTo>
                <a:cubicBezTo>
                  <a:pt x="20" y="11"/>
                  <a:pt x="17" y="12"/>
                  <a:pt x="14" y="14"/>
                </a:cubicBezTo>
                <a:cubicBezTo>
                  <a:pt x="12" y="17"/>
                  <a:pt x="11" y="20"/>
                  <a:pt x="11" y="24"/>
                </a:cubicBezTo>
                <a:cubicBezTo>
                  <a:pt x="8" y="24"/>
                  <a:pt x="5" y="26"/>
                  <a:pt x="4" y="30"/>
                </a:cubicBezTo>
                <a:cubicBezTo>
                  <a:pt x="2" y="33"/>
                  <a:pt x="3" y="37"/>
                  <a:pt x="5" y="39"/>
                </a:cubicBezTo>
                <a:cubicBezTo>
                  <a:pt x="2" y="41"/>
                  <a:pt x="0" y="44"/>
                  <a:pt x="0" y="48"/>
                </a:cubicBezTo>
                <a:cubicBezTo>
                  <a:pt x="0" y="52"/>
                  <a:pt x="2" y="55"/>
                  <a:pt x="5" y="57"/>
                </a:cubicBezTo>
                <a:cubicBezTo>
                  <a:pt x="3" y="59"/>
                  <a:pt x="2" y="63"/>
                  <a:pt x="4" y="66"/>
                </a:cubicBezTo>
                <a:cubicBezTo>
                  <a:pt x="5" y="70"/>
                  <a:pt x="8" y="72"/>
                  <a:pt x="11" y="72"/>
                </a:cubicBezTo>
                <a:cubicBezTo>
                  <a:pt x="11" y="76"/>
                  <a:pt x="12" y="79"/>
                  <a:pt x="14" y="82"/>
                </a:cubicBezTo>
                <a:cubicBezTo>
                  <a:pt x="17" y="84"/>
                  <a:pt x="20" y="85"/>
                  <a:pt x="24" y="85"/>
                </a:cubicBezTo>
                <a:cubicBezTo>
                  <a:pt x="24" y="88"/>
                  <a:pt x="26" y="91"/>
                  <a:pt x="30" y="92"/>
                </a:cubicBezTo>
                <a:cubicBezTo>
                  <a:pt x="33" y="94"/>
                  <a:pt x="37" y="93"/>
                  <a:pt x="39" y="91"/>
                </a:cubicBezTo>
                <a:cubicBezTo>
                  <a:pt x="41" y="94"/>
                  <a:pt x="44" y="96"/>
                  <a:pt x="48" y="96"/>
                </a:cubicBezTo>
                <a:cubicBezTo>
                  <a:pt x="52" y="96"/>
                  <a:pt x="55" y="94"/>
                  <a:pt x="57" y="91"/>
                </a:cubicBezTo>
                <a:cubicBezTo>
                  <a:pt x="59" y="93"/>
                  <a:pt x="63" y="94"/>
                  <a:pt x="66" y="92"/>
                </a:cubicBezTo>
                <a:cubicBezTo>
                  <a:pt x="70" y="91"/>
                  <a:pt x="72" y="88"/>
                  <a:pt x="72" y="85"/>
                </a:cubicBezTo>
                <a:cubicBezTo>
                  <a:pt x="76" y="85"/>
                  <a:pt x="79" y="84"/>
                  <a:pt x="82" y="82"/>
                </a:cubicBezTo>
                <a:cubicBezTo>
                  <a:pt x="84" y="79"/>
                  <a:pt x="85" y="76"/>
                  <a:pt x="85" y="72"/>
                </a:cubicBezTo>
                <a:cubicBezTo>
                  <a:pt x="88" y="72"/>
                  <a:pt x="91" y="70"/>
                  <a:pt x="92" y="66"/>
                </a:cubicBezTo>
                <a:cubicBezTo>
                  <a:pt x="94" y="63"/>
                  <a:pt x="93" y="59"/>
                  <a:pt x="91" y="57"/>
                </a:cubicBezTo>
                <a:cubicBezTo>
                  <a:pt x="94" y="55"/>
                  <a:pt x="96" y="52"/>
                  <a:pt x="96" y="48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19234864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DE7838-21F5-46E4-BC07-E7C79DF86F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DE7838-21F5-46E4-BC07-E7C79DF86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75294-F1EA-420D-B0C6-1A373F308F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3" name="Picture 32" descr="A picture containing text&#10;&#10;Description automatically generated">
            <a:extLst>
              <a:ext uri="{FF2B5EF4-FFF2-40B4-BE49-F238E27FC236}">
                <a16:creationId xmlns:a16="http://schemas.microsoft.com/office/drawing/2014/main" id="{E2299BC0-F629-4FC4-9926-18A7C03D1B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759" b="32098"/>
          <a:stretch/>
        </p:blipFill>
        <p:spPr>
          <a:xfrm>
            <a:off x="0" y="1524000"/>
            <a:ext cx="12192000" cy="1799771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76D6CB1-4C05-4888-BE03-DFB60E2947AE}"/>
              </a:ext>
            </a:extLst>
          </p:cNvPr>
          <p:cNvSpPr/>
          <p:nvPr/>
        </p:nvSpPr>
        <p:spPr>
          <a:xfrm flipH="1" flipV="1">
            <a:off x="0" y="5673558"/>
            <a:ext cx="1113968" cy="1184440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CF99A1-62E7-4600-9ACC-2FE31221AD31}"/>
              </a:ext>
            </a:extLst>
          </p:cNvPr>
          <p:cNvSpPr/>
          <p:nvPr/>
        </p:nvSpPr>
        <p:spPr>
          <a:xfrm>
            <a:off x="0" y="1524000"/>
            <a:ext cx="12192000" cy="1799771"/>
          </a:xfrm>
          <a:prstGeom prst="rect">
            <a:avLst/>
          </a:pr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339372F-726C-4FC8-919E-787DEEBD065D}"/>
              </a:ext>
            </a:extLst>
          </p:cNvPr>
          <p:cNvSpPr/>
          <p:nvPr/>
        </p:nvSpPr>
        <p:spPr>
          <a:xfrm>
            <a:off x="9065987" y="1"/>
            <a:ext cx="3126013" cy="3323771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C0FC05-D602-4E92-91C6-E47BC459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hách</a:t>
            </a:r>
            <a:r>
              <a:rPr lang="en-US" dirty="0"/>
              <a:t> </a:t>
            </a:r>
            <a:r>
              <a:rPr lang="en-US" dirty="0" err="1"/>
              <a:t>hàng</a:t>
            </a:r>
            <a:endParaRPr lang="en-ID" dirty="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F6B2445B-6B88-4862-9043-978B6E786056}"/>
              </a:ext>
            </a:extLst>
          </p:cNvPr>
          <p:cNvSpPr/>
          <p:nvPr/>
        </p:nvSpPr>
        <p:spPr>
          <a:xfrm>
            <a:off x="1001486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6933E7-F03B-49B2-A7DD-9103EAEAFAE3}"/>
              </a:ext>
            </a:extLst>
          </p:cNvPr>
          <p:cNvSpPr txBox="1"/>
          <p:nvPr/>
        </p:nvSpPr>
        <p:spPr>
          <a:xfrm>
            <a:off x="1001486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Logistics</a:t>
            </a: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73490E3-4014-4B61-84B6-4529E742BE68}"/>
              </a:ext>
            </a:extLst>
          </p:cNvPr>
          <p:cNvSpPr/>
          <p:nvPr/>
        </p:nvSpPr>
        <p:spPr>
          <a:xfrm>
            <a:off x="4755244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2323E2-55D2-4AC5-A01B-7B63825CE319}"/>
              </a:ext>
            </a:extLst>
          </p:cNvPr>
          <p:cNvSpPr txBox="1"/>
          <p:nvPr/>
        </p:nvSpPr>
        <p:spPr>
          <a:xfrm>
            <a:off x="4755244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sả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xuất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9DECFBB-53CD-4D1E-A398-9F39B2903CFA}"/>
              </a:ext>
            </a:extLst>
          </p:cNvPr>
          <p:cNvSpPr/>
          <p:nvPr/>
        </p:nvSpPr>
        <p:spPr>
          <a:xfrm>
            <a:off x="8509003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10B4AB-763E-4471-9E35-6E3FF2B29311}"/>
              </a:ext>
            </a:extLst>
          </p:cNvPr>
          <p:cNvSpPr txBox="1"/>
          <p:nvPr/>
        </p:nvSpPr>
        <p:spPr>
          <a:xfrm>
            <a:off x="8509003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Nhà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â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ối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B5C374A-59D7-4D70-8016-EDC39D74C54F}"/>
              </a:ext>
            </a:extLst>
          </p:cNvPr>
          <p:cNvGrpSpPr/>
          <p:nvPr/>
        </p:nvGrpSpPr>
        <p:grpSpPr>
          <a:xfrm>
            <a:off x="1378289" y="3157877"/>
            <a:ext cx="360363" cy="331788"/>
            <a:chOff x="6997700" y="2901951"/>
            <a:chExt cx="360363" cy="331788"/>
          </a:xfrm>
          <a:solidFill>
            <a:schemeClr val="bg1"/>
          </a:solidFill>
        </p:grpSpPr>
        <p:sp>
          <p:nvSpPr>
            <p:cNvPr id="35" name="Freeform 164">
              <a:extLst>
                <a:ext uri="{FF2B5EF4-FFF2-40B4-BE49-F238E27FC236}">
                  <a16:creationId xmlns:a16="http://schemas.microsoft.com/office/drawing/2014/main" id="{C003496E-D5F0-44ED-BD1C-D3FE4AC6A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3162301"/>
              <a:ext cx="360363" cy="71438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165">
              <a:extLst>
                <a:ext uri="{FF2B5EF4-FFF2-40B4-BE49-F238E27FC236}">
                  <a16:creationId xmlns:a16="http://schemas.microsoft.com/office/drawing/2014/main" id="{1017A074-6526-41BE-8D83-C0732B7AF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2901951"/>
              <a:ext cx="90488" cy="90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66">
              <a:extLst>
                <a:ext uri="{FF2B5EF4-FFF2-40B4-BE49-F238E27FC236}">
                  <a16:creationId xmlns:a16="http://schemas.microsoft.com/office/drawing/2014/main" id="{37637B83-0E38-4D9F-AFB6-2CFC5786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3008313"/>
              <a:ext cx="90488" cy="149225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Oval 167">
              <a:extLst>
                <a:ext uri="{FF2B5EF4-FFF2-40B4-BE49-F238E27FC236}">
                  <a16:creationId xmlns:a16="http://schemas.microsoft.com/office/drawing/2014/main" id="{401BFA27-59D0-4AE7-8DF3-FE9CC438C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68">
              <a:extLst>
                <a:ext uri="{FF2B5EF4-FFF2-40B4-BE49-F238E27FC236}">
                  <a16:creationId xmlns:a16="http://schemas.microsoft.com/office/drawing/2014/main" id="{89DB1272-FB80-40A7-B819-35D0144B0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169">
              <a:extLst>
                <a:ext uri="{FF2B5EF4-FFF2-40B4-BE49-F238E27FC236}">
                  <a16:creationId xmlns:a16="http://schemas.microsoft.com/office/drawing/2014/main" id="{EC4F3951-C90E-4546-A0F0-7B76BEAB2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150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70">
              <a:extLst>
                <a:ext uri="{FF2B5EF4-FFF2-40B4-BE49-F238E27FC236}">
                  <a16:creationId xmlns:a16="http://schemas.microsoft.com/office/drawing/2014/main" id="{DCED3C13-4802-4411-934B-A91D33CA7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Freeform 6">
            <a:extLst>
              <a:ext uri="{FF2B5EF4-FFF2-40B4-BE49-F238E27FC236}">
                <a16:creationId xmlns:a16="http://schemas.microsoft.com/office/drawing/2014/main" id="{102CDB21-AA68-42B0-8426-36A64387049D}"/>
              </a:ext>
            </a:extLst>
          </p:cNvPr>
          <p:cNvSpPr>
            <a:spLocks/>
          </p:cNvSpPr>
          <p:nvPr/>
        </p:nvSpPr>
        <p:spPr bwMode="auto">
          <a:xfrm>
            <a:off x="5132047" y="3138034"/>
            <a:ext cx="360364" cy="371476"/>
          </a:xfrm>
          <a:custGeom>
            <a:avLst/>
            <a:gdLst>
              <a:gd name="T0" fmla="*/ 86 w 96"/>
              <a:gd name="T1" fmla="*/ 72 h 96"/>
              <a:gd name="T2" fmla="*/ 60 w 96"/>
              <a:gd name="T3" fmla="*/ 48 h 96"/>
              <a:gd name="T4" fmla="*/ 50 w 96"/>
              <a:gd name="T5" fmla="*/ 48 h 96"/>
              <a:gd name="T6" fmla="*/ 50 w 96"/>
              <a:gd name="T7" fmla="*/ 24 h 96"/>
              <a:gd name="T8" fmla="*/ 60 w 96"/>
              <a:gd name="T9" fmla="*/ 12 h 96"/>
              <a:gd name="T10" fmla="*/ 48 w 96"/>
              <a:gd name="T11" fmla="*/ 0 h 96"/>
              <a:gd name="T12" fmla="*/ 36 w 96"/>
              <a:gd name="T13" fmla="*/ 12 h 96"/>
              <a:gd name="T14" fmla="*/ 46 w 96"/>
              <a:gd name="T15" fmla="*/ 24 h 96"/>
              <a:gd name="T16" fmla="*/ 46 w 96"/>
              <a:gd name="T17" fmla="*/ 48 h 96"/>
              <a:gd name="T18" fmla="*/ 36 w 96"/>
              <a:gd name="T19" fmla="*/ 48 h 96"/>
              <a:gd name="T20" fmla="*/ 10 w 96"/>
              <a:gd name="T21" fmla="*/ 72 h 96"/>
              <a:gd name="T22" fmla="*/ 0 w 96"/>
              <a:gd name="T23" fmla="*/ 84 h 96"/>
              <a:gd name="T24" fmla="*/ 12 w 96"/>
              <a:gd name="T25" fmla="*/ 96 h 96"/>
              <a:gd name="T26" fmla="*/ 24 w 96"/>
              <a:gd name="T27" fmla="*/ 84 h 96"/>
              <a:gd name="T28" fmla="*/ 14 w 96"/>
              <a:gd name="T29" fmla="*/ 72 h 96"/>
              <a:gd name="T30" fmla="*/ 36 w 96"/>
              <a:gd name="T31" fmla="*/ 52 h 96"/>
              <a:gd name="T32" fmla="*/ 46 w 96"/>
              <a:gd name="T33" fmla="*/ 52 h 96"/>
              <a:gd name="T34" fmla="*/ 46 w 96"/>
              <a:gd name="T35" fmla="*/ 72 h 96"/>
              <a:gd name="T36" fmla="*/ 36 w 96"/>
              <a:gd name="T37" fmla="*/ 84 h 96"/>
              <a:gd name="T38" fmla="*/ 48 w 96"/>
              <a:gd name="T39" fmla="*/ 96 h 96"/>
              <a:gd name="T40" fmla="*/ 60 w 96"/>
              <a:gd name="T41" fmla="*/ 84 h 96"/>
              <a:gd name="T42" fmla="*/ 50 w 96"/>
              <a:gd name="T43" fmla="*/ 72 h 96"/>
              <a:gd name="T44" fmla="*/ 50 w 96"/>
              <a:gd name="T45" fmla="*/ 52 h 96"/>
              <a:gd name="T46" fmla="*/ 60 w 96"/>
              <a:gd name="T47" fmla="*/ 52 h 96"/>
              <a:gd name="T48" fmla="*/ 82 w 96"/>
              <a:gd name="T49" fmla="*/ 72 h 96"/>
              <a:gd name="T50" fmla="*/ 72 w 96"/>
              <a:gd name="T51" fmla="*/ 84 h 96"/>
              <a:gd name="T52" fmla="*/ 84 w 96"/>
              <a:gd name="T53" fmla="*/ 96 h 96"/>
              <a:gd name="T54" fmla="*/ 96 w 96"/>
              <a:gd name="T55" fmla="*/ 84 h 96"/>
              <a:gd name="T56" fmla="*/ 86 w 96"/>
              <a:gd name="T57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6" h="96">
                <a:moveTo>
                  <a:pt x="86" y="72"/>
                </a:moveTo>
                <a:cubicBezTo>
                  <a:pt x="85" y="59"/>
                  <a:pt x="74" y="48"/>
                  <a:pt x="60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50" y="24"/>
                  <a:pt x="50" y="24"/>
                  <a:pt x="50" y="24"/>
                </a:cubicBezTo>
                <a:cubicBezTo>
                  <a:pt x="56" y="23"/>
                  <a:pt x="60" y="18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41" y="0"/>
                  <a:pt x="36" y="5"/>
                  <a:pt x="36" y="12"/>
                </a:cubicBezTo>
                <a:cubicBezTo>
                  <a:pt x="36" y="18"/>
                  <a:pt x="40" y="23"/>
                  <a:pt x="46" y="24"/>
                </a:cubicBezTo>
                <a:cubicBezTo>
                  <a:pt x="46" y="48"/>
                  <a:pt x="46" y="48"/>
                  <a:pt x="4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22" y="48"/>
                  <a:pt x="11" y="59"/>
                  <a:pt x="10" y="72"/>
                </a:cubicBezTo>
                <a:cubicBezTo>
                  <a:pt x="4" y="73"/>
                  <a:pt x="0" y="78"/>
                  <a:pt x="0" y="84"/>
                </a:cubicBezTo>
                <a:cubicBezTo>
                  <a:pt x="0" y="91"/>
                  <a:pt x="5" y="96"/>
                  <a:pt x="12" y="96"/>
                </a:cubicBezTo>
                <a:cubicBezTo>
                  <a:pt x="19" y="96"/>
                  <a:pt x="24" y="91"/>
                  <a:pt x="24" y="84"/>
                </a:cubicBezTo>
                <a:cubicBezTo>
                  <a:pt x="24" y="78"/>
                  <a:pt x="20" y="73"/>
                  <a:pt x="14" y="72"/>
                </a:cubicBezTo>
                <a:cubicBezTo>
                  <a:pt x="15" y="61"/>
                  <a:pt x="24" y="52"/>
                  <a:pt x="3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72"/>
                  <a:pt x="46" y="72"/>
                  <a:pt x="46" y="72"/>
                </a:cubicBezTo>
                <a:cubicBezTo>
                  <a:pt x="40" y="73"/>
                  <a:pt x="36" y="78"/>
                  <a:pt x="36" y="84"/>
                </a:cubicBezTo>
                <a:cubicBezTo>
                  <a:pt x="36" y="91"/>
                  <a:pt x="41" y="96"/>
                  <a:pt x="48" y="96"/>
                </a:cubicBezTo>
                <a:cubicBezTo>
                  <a:pt x="55" y="96"/>
                  <a:pt x="60" y="91"/>
                  <a:pt x="60" y="84"/>
                </a:cubicBezTo>
                <a:cubicBezTo>
                  <a:pt x="60" y="78"/>
                  <a:pt x="56" y="73"/>
                  <a:pt x="50" y="72"/>
                </a:cubicBezTo>
                <a:cubicBezTo>
                  <a:pt x="50" y="52"/>
                  <a:pt x="50" y="52"/>
                  <a:pt x="50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72" y="52"/>
                  <a:pt x="81" y="61"/>
                  <a:pt x="82" y="72"/>
                </a:cubicBezTo>
                <a:cubicBezTo>
                  <a:pt x="76" y="73"/>
                  <a:pt x="72" y="78"/>
                  <a:pt x="72" y="84"/>
                </a:cubicBezTo>
                <a:cubicBezTo>
                  <a:pt x="72" y="91"/>
                  <a:pt x="77" y="96"/>
                  <a:pt x="84" y="96"/>
                </a:cubicBezTo>
                <a:cubicBezTo>
                  <a:pt x="91" y="96"/>
                  <a:pt x="96" y="91"/>
                  <a:pt x="96" y="84"/>
                </a:cubicBezTo>
                <a:cubicBezTo>
                  <a:pt x="96" y="78"/>
                  <a:pt x="92" y="73"/>
                  <a:pt x="8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B699ACE-30C3-4732-9F03-175FC64AA1FB}"/>
              </a:ext>
            </a:extLst>
          </p:cNvPr>
          <p:cNvGrpSpPr/>
          <p:nvPr/>
        </p:nvGrpSpPr>
        <p:grpSpPr>
          <a:xfrm>
            <a:off x="8885806" y="3142002"/>
            <a:ext cx="360362" cy="363538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44" name="Freeform 96">
              <a:extLst>
                <a:ext uri="{FF2B5EF4-FFF2-40B4-BE49-F238E27FC236}">
                  <a16:creationId xmlns:a16="http://schemas.microsoft.com/office/drawing/2014/main" id="{837CAAC9-F9B7-4933-9553-15D116BD2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97">
              <a:extLst>
                <a:ext uri="{FF2B5EF4-FFF2-40B4-BE49-F238E27FC236}">
                  <a16:creationId xmlns:a16="http://schemas.microsoft.com/office/drawing/2014/main" id="{6CBCC93F-D860-49AC-BBE7-BD0CFDA54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Rectangle 98">
              <a:extLst>
                <a:ext uri="{FF2B5EF4-FFF2-40B4-BE49-F238E27FC236}">
                  <a16:creationId xmlns:a16="http://schemas.microsoft.com/office/drawing/2014/main" id="{4A99CDA7-3CF5-451E-9099-C7DA41C14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Rectangle 99">
              <a:extLst>
                <a:ext uri="{FF2B5EF4-FFF2-40B4-BE49-F238E27FC236}">
                  <a16:creationId xmlns:a16="http://schemas.microsoft.com/office/drawing/2014/main" id="{24209E76-3878-4969-A1C6-A1F6F71C0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Rectangle 100">
              <a:extLst>
                <a:ext uri="{FF2B5EF4-FFF2-40B4-BE49-F238E27FC236}">
                  <a16:creationId xmlns:a16="http://schemas.microsoft.com/office/drawing/2014/main" id="{611C9356-5491-4502-A451-6FCFC88A7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Rectangle 101">
              <a:extLst>
                <a:ext uri="{FF2B5EF4-FFF2-40B4-BE49-F238E27FC236}">
                  <a16:creationId xmlns:a16="http://schemas.microsoft.com/office/drawing/2014/main" id="{0E012752-5969-4EE6-AF28-CE216DC10D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Rectangle 102">
              <a:extLst>
                <a:ext uri="{FF2B5EF4-FFF2-40B4-BE49-F238E27FC236}">
                  <a16:creationId xmlns:a16="http://schemas.microsoft.com/office/drawing/2014/main" id="{3ED2E535-C096-4A1F-A3CA-F942AEF60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572D103C-F537-4723-88BB-F43850B8AE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51" y="4450589"/>
            <a:ext cx="1800476" cy="91452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B7EB923-ED2D-4BE6-80B9-0E0F7240AE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23096" y="4530309"/>
            <a:ext cx="1841270" cy="6349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5D7AEA-31E5-40A0-8784-A1976E5826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055" y="4252910"/>
            <a:ext cx="1428750" cy="762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0B80CDB-FC8F-4CAF-B981-25C157BA89B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320" y="5221860"/>
            <a:ext cx="1959845" cy="48406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B2DFFC-0C27-4D1B-808B-B76E13317C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3901" y="5221860"/>
            <a:ext cx="2136654" cy="59486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ACA5866-B588-42F8-AE52-0E3220F8A9D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366" y="4241164"/>
            <a:ext cx="1180952" cy="95238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0F8B49B-991C-48E6-A02D-D26352AB58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559" y="4564935"/>
            <a:ext cx="2317869" cy="685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0134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17B9E7-01E9-42D5-8F5D-E014825C78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17B9E7-01E9-42D5-8F5D-E014825C7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7F9D39-406C-47E5-89D6-F081726E66A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597A6B-4192-4E99-856A-322B1B8A7A25}"/>
              </a:ext>
            </a:extLst>
          </p:cNvPr>
          <p:cNvSpPr txBox="1"/>
          <p:nvPr/>
        </p:nvSpPr>
        <p:spPr>
          <a:xfrm>
            <a:off x="4244980" y="1937548"/>
            <a:ext cx="401319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b="1" i="0" dirty="0">
                <a:effectLst/>
              </a:rPr>
              <a:t>Giao </a:t>
            </a:r>
            <a:r>
              <a:rPr lang="en-ID" sz="2000" b="1" i="0" dirty="0" err="1">
                <a:effectLst/>
              </a:rPr>
              <a:t>diện</a:t>
            </a:r>
            <a:endParaRPr lang="en-ID" sz="2000" b="1" i="0" dirty="0">
              <a:effectLst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CE0980-64EA-4607-BBB6-E1BBB3AFF96D}"/>
              </a:ext>
            </a:extLst>
          </p:cNvPr>
          <p:cNvSpPr txBox="1"/>
          <p:nvPr/>
        </p:nvSpPr>
        <p:spPr>
          <a:xfrm>
            <a:off x="4244978" y="2260714"/>
            <a:ext cx="55848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dirty="0" err="1"/>
              <a:t>Đơn</a:t>
            </a:r>
            <a:r>
              <a:rPr lang="en-ID" dirty="0"/>
              <a:t> </a:t>
            </a:r>
            <a:r>
              <a:rPr lang="en-ID" dirty="0" err="1"/>
              <a:t>giản</a:t>
            </a:r>
            <a:r>
              <a:rPr lang="en-ID" dirty="0"/>
              <a:t>, </a:t>
            </a:r>
            <a:r>
              <a:rPr lang="en-ID" dirty="0" err="1"/>
              <a:t>nhất</a:t>
            </a:r>
            <a:r>
              <a:rPr lang="en-ID" dirty="0"/>
              <a:t> </a:t>
            </a:r>
            <a:r>
              <a:rPr lang="en-ID" dirty="0" err="1"/>
              <a:t>quán</a:t>
            </a:r>
            <a:r>
              <a:rPr lang="en-ID" dirty="0"/>
              <a:t>, </a:t>
            </a:r>
            <a:r>
              <a:rPr lang="en-ID" dirty="0" err="1"/>
              <a:t>dễ</a:t>
            </a:r>
            <a:r>
              <a:rPr lang="en-ID" dirty="0"/>
              <a:t> </a:t>
            </a:r>
            <a:r>
              <a:rPr lang="en-ID" dirty="0" err="1"/>
              <a:t>sử</a:t>
            </a:r>
            <a:r>
              <a:rPr lang="en-ID" dirty="0"/>
              <a:t> </a:t>
            </a:r>
            <a:r>
              <a:rPr lang="en-ID" dirty="0" err="1"/>
              <a:t>dụng</a:t>
            </a:r>
            <a:r>
              <a:rPr lang="en-ID" dirty="0"/>
              <a:t>, </a:t>
            </a:r>
            <a:r>
              <a:rPr lang="en-ID" dirty="0" err="1"/>
              <a:t>nhiều</a:t>
            </a:r>
            <a:r>
              <a:rPr lang="en-ID" dirty="0"/>
              <a:t> </a:t>
            </a:r>
            <a:r>
              <a:rPr lang="en-ID" dirty="0" err="1"/>
              <a:t>tiện</a:t>
            </a:r>
            <a:r>
              <a:rPr lang="en-ID" dirty="0"/>
              <a:t> </a:t>
            </a:r>
            <a:r>
              <a:rPr lang="en-ID" dirty="0" err="1"/>
              <a:t>ích</a:t>
            </a:r>
            <a:endParaRPr lang="en-ID" b="0" i="0" dirty="0">
              <a:effectLst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08148DF-94D6-46D4-AA37-B95576ED011C}"/>
              </a:ext>
            </a:extLst>
          </p:cNvPr>
          <p:cNvGrpSpPr/>
          <p:nvPr/>
        </p:nvGrpSpPr>
        <p:grpSpPr>
          <a:xfrm>
            <a:off x="4244978" y="4718850"/>
            <a:ext cx="4013198" cy="600165"/>
            <a:chOff x="7645403" y="4733502"/>
            <a:chExt cx="4013198" cy="60016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F6223B4-DC37-43EB-A3FA-6EF6DE01630E}"/>
                </a:ext>
              </a:extLst>
            </p:cNvPr>
            <p:cNvSpPr txBox="1"/>
            <p:nvPr/>
          </p:nvSpPr>
          <p:spPr>
            <a:xfrm>
              <a:off x="7645405" y="4733502"/>
              <a:ext cx="4013196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ID" sz="2000" b="1" i="0" dirty="0" err="1">
                  <a:effectLst/>
                </a:rPr>
                <a:t>Hiệu</a:t>
              </a:r>
              <a:r>
                <a:rPr lang="en-ID" sz="2000" b="1" i="0" dirty="0">
                  <a:effectLst/>
                </a:rPr>
                <a:t> </a:t>
              </a:r>
              <a:r>
                <a:rPr lang="en-ID" sz="2000" b="1" i="0" dirty="0" err="1">
                  <a:effectLst/>
                </a:rPr>
                <a:t>năng</a:t>
              </a:r>
              <a:endParaRPr lang="en-ID" sz="2000" b="1" i="0" dirty="0">
                <a:effectLst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831D8B2-B347-4F6F-8F61-5F076DA14713}"/>
                </a:ext>
              </a:extLst>
            </p:cNvPr>
            <p:cNvSpPr txBox="1"/>
            <p:nvPr/>
          </p:nvSpPr>
          <p:spPr>
            <a:xfrm>
              <a:off x="7645403" y="5056668"/>
              <a:ext cx="4013195" cy="27699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ID" b="0" i="0" dirty="0" err="1">
                  <a:effectLst/>
                </a:rPr>
                <a:t>Nhanh</a:t>
              </a:r>
              <a:r>
                <a:rPr lang="en-ID" b="0" i="0" dirty="0">
                  <a:effectLst/>
                </a:rPr>
                <a:t>, </a:t>
              </a:r>
              <a:r>
                <a:rPr lang="en-ID" b="0" i="0" dirty="0" err="1">
                  <a:effectLst/>
                </a:rPr>
                <a:t>ổn</a:t>
              </a:r>
              <a:r>
                <a:rPr lang="en-ID" b="0" i="0" dirty="0">
                  <a:effectLst/>
                </a:rPr>
                <a:t> </a:t>
              </a:r>
              <a:r>
                <a:rPr lang="en-ID" b="0" i="0" dirty="0" err="1">
                  <a:effectLst/>
                </a:rPr>
                <a:t>định</a:t>
              </a:r>
              <a:endParaRPr lang="en-ID" b="0" i="0" dirty="0">
                <a:effectLst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C315C3E-6A81-429A-9ABA-1ECDD0699CB7}"/>
              </a:ext>
            </a:extLst>
          </p:cNvPr>
          <p:cNvSpPr txBox="1"/>
          <p:nvPr/>
        </p:nvSpPr>
        <p:spPr>
          <a:xfrm>
            <a:off x="4778379" y="3328199"/>
            <a:ext cx="347979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b="1" i="0" dirty="0" err="1">
                <a:effectLst/>
              </a:rPr>
              <a:t>Công</a:t>
            </a:r>
            <a:r>
              <a:rPr lang="en-ID" sz="2000" b="1" i="0" dirty="0">
                <a:effectLst/>
              </a:rPr>
              <a:t> </a:t>
            </a:r>
            <a:r>
              <a:rPr lang="en-ID" sz="2000" b="1" i="0" dirty="0" err="1">
                <a:effectLst/>
              </a:rPr>
              <a:t>nghệ</a:t>
            </a:r>
            <a:endParaRPr lang="en-ID" sz="2000" b="1" i="0" dirty="0">
              <a:effectLst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B90DBB-9AB4-4D75-BD35-4940F877CEEB}"/>
              </a:ext>
            </a:extLst>
          </p:cNvPr>
          <p:cNvSpPr txBox="1"/>
          <p:nvPr/>
        </p:nvSpPr>
        <p:spPr>
          <a:xfrm>
            <a:off x="4778377" y="3651365"/>
            <a:ext cx="4565647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0" i="0" dirty="0">
                <a:effectLst/>
              </a:rPr>
              <a:t>HTML 5, Oracle, Java 1.8, Rest Servic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DE04804-541A-4244-B627-265AAC56E7AB}"/>
              </a:ext>
            </a:extLst>
          </p:cNvPr>
          <p:cNvCxnSpPr>
            <a:cxnSpLocks/>
          </p:cNvCxnSpPr>
          <p:nvPr/>
        </p:nvCxnSpPr>
        <p:spPr>
          <a:xfrm>
            <a:off x="4778378" y="3009900"/>
            <a:ext cx="401319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C5A1C55-48BF-49C0-93C1-F16DE4084F42}"/>
              </a:ext>
            </a:extLst>
          </p:cNvPr>
          <p:cNvCxnSpPr>
            <a:cxnSpLocks/>
          </p:cNvCxnSpPr>
          <p:nvPr/>
        </p:nvCxnSpPr>
        <p:spPr>
          <a:xfrm>
            <a:off x="4778378" y="4400551"/>
            <a:ext cx="401319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021FE75-C335-4112-9A8E-80A794B67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Đánh</a:t>
            </a:r>
            <a:r>
              <a:rPr lang="en-US" dirty="0"/>
              <a:t> </a:t>
            </a:r>
            <a:r>
              <a:rPr lang="en-US" dirty="0" err="1"/>
              <a:t>giá</a:t>
            </a:r>
            <a:r>
              <a:rPr lang="en-US" dirty="0"/>
              <a:t> </a:t>
            </a:r>
            <a:r>
              <a:rPr lang="en-US" dirty="0" err="1"/>
              <a:t>hệ</a:t>
            </a:r>
            <a:r>
              <a:rPr lang="en-US" dirty="0"/>
              <a:t> </a:t>
            </a:r>
            <a:r>
              <a:rPr lang="en-US" dirty="0" err="1"/>
              <a:t>thống</a:t>
            </a:r>
            <a:endParaRPr lang="en-ID" dirty="0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5E42367A-D8F5-4F9E-9160-2BA9F5869A44}"/>
              </a:ext>
            </a:extLst>
          </p:cNvPr>
          <p:cNvSpPr/>
          <p:nvPr/>
        </p:nvSpPr>
        <p:spPr>
          <a:xfrm>
            <a:off x="2913293" y="1834416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DAB31F72-512A-42A9-B913-99889AB8C8D4}"/>
              </a:ext>
            </a:extLst>
          </p:cNvPr>
          <p:cNvSpPr/>
          <p:nvPr/>
        </p:nvSpPr>
        <p:spPr>
          <a:xfrm>
            <a:off x="3470277" y="3225067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6D69D62A-8BFD-4722-BB36-97A6BE75CB72}"/>
              </a:ext>
            </a:extLst>
          </p:cNvPr>
          <p:cNvSpPr/>
          <p:nvPr/>
        </p:nvSpPr>
        <p:spPr>
          <a:xfrm>
            <a:off x="2913293" y="4615718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98FD0C8-9116-4132-BDF9-A5186FAADD1A}"/>
              </a:ext>
            </a:extLst>
          </p:cNvPr>
          <p:cNvSpPr txBox="1"/>
          <p:nvPr/>
        </p:nvSpPr>
        <p:spPr>
          <a:xfrm>
            <a:off x="3274786" y="2129908"/>
            <a:ext cx="390982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effectLst/>
              </a:rPr>
              <a:t>0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3A486F9-D21F-43F2-9267-47B6ACAB3897}"/>
              </a:ext>
            </a:extLst>
          </p:cNvPr>
          <p:cNvSpPr txBox="1"/>
          <p:nvPr/>
        </p:nvSpPr>
        <p:spPr>
          <a:xfrm>
            <a:off x="3274786" y="4911210"/>
            <a:ext cx="390982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effectLst/>
              </a:rPr>
              <a:t>0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A6E1D3-5C3B-4863-9561-7D0C513D65C2}"/>
              </a:ext>
            </a:extLst>
          </p:cNvPr>
          <p:cNvSpPr txBox="1"/>
          <p:nvPr/>
        </p:nvSpPr>
        <p:spPr>
          <a:xfrm>
            <a:off x="3831770" y="3520559"/>
            <a:ext cx="390982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effectLst/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2146696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8D1DD7-FAB0-4F32-B146-2D714CD461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8D1DD7-FAB0-4F32-B146-2D714CD46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computer sitting on top of a wooden table&#10;&#10;Description automatically generated">
            <a:extLst>
              <a:ext uri="{FF2B5EF4-FFF2-40B4-BE49-F238E27FC236}">
                <a16:creationId xmlns:a16="http://schemas.microsoft.com/office/drawing/2014/main" id="{6D334828-4327-4148-B506-0F5B0B7BA3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5E3E559-105A-46AE-BD1E-7273169FB3C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840494 w 12192000"/>
              <a:gd name="connsiteY3" fmla="*/ 6858000 h 6858000"/>
              <a:gd name="connsiteX4" fmla="*/ 8840494 w 12192000"/>
              <a:gd name="connsiteY4" fmla="*/ 3448700 h 6858000"/>
              <a:gd name="connsiteX5" fmla="*/ 6096000 w 12192000"/>
              <a:gd name="connsiteY5" fmla="*/ 2076453 h 6858000"/>
              <a:gd name="connsiteX6" fmla="*/ 3351507 w 12192000"/>
              <a:gd name="connsiteY6" fmla="*/ 3448700 h 6858000"/>
              <a:gd name="connsiteX7" fmla="*/ 3351507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840494" y="6858000"/>
                </a:lnTo>
                <a:lnTo>
                  <a:pt x="8840494" y="3448700"/>
                </a:lnTo>
                <a:lnTo>
                  <a:pt x="6096000" y="2076453"/>
                </a:lnTo>
                <a:lnTo>
                  <a:pt x="3351507" y="3448700"/>
                </a:lnTo>
                <a:lnTo>
                  <a:pt x="3351507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0D940100-DBC5-4502-99C7-6729642A3B8B}"/>
              </a:ext>
            </a:extLst>
          </p:cNvPr>
          <p:cNvSpPr/>
          <p:nvPr/>
        </p:nvSpPr>
        <p:spPr>
          <a:xfrm rot="5400000">
            <a:off x="2938326" y="-458612"/>
            <a:ext cx="6315351" cy="7232576"/>
          </a:xfrm>
          <a:custGeom>
            <a:avLst/>
            <a:gdLst>
              <a:gd name="connsiteX0" fmla="*/ 0 w 6315351"/>
              <a:gd name="connsiteY0" fmla="*/ 7232576 h 7232576"/>
              <a:gd name="connsiteX1" fmla="*/ 0 w 6315351"/>
              <a:gd name="connsiteY1" fmla="*/ 0 h 7232576"/>
              <a:gd name="connsiteX2" fmla="*/ 4507207 w 6315351"/>
              <a:gd name="connsiteY2" fmla="*/ 0 h 7232576"/>
              <a:gd name="connsiteX3" fmla="*/ 6315351 w 6315351"/>
              <a:gd name="connsiteY3" fmla="*/ 3616288 h 7232576"/>
              <a:gd name="connsiteX4" fmla="*/ 4507207 w 6315351"/>
              <a:gd name="connsiteY4" fmla="*/ 7232576 h 7232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5351" h="7232576">
                <a:moveTo>
                  <a:pt x="0" y="7232576"/>
                </a:moveTo>
                <a:lnTo>
                  <a:pt x="0" y="0"/>
                </a:lnTo>
                <a:lnTo>
                  <a:pt x="4507207" y="0"/>
                </a:lnTo>
                <a:lnTo>
                  <a:pt x="6315351" y="3616288"/>
                </a:lnTo>
                <a:lnTo>
                  <a:pt x="4507207" y="7232576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A265489-1145-46A3-B4E3-275871E8665F}"/>
              </a:ext>
            </a:extLst>
          </p:cNvPr>
          <p:cNvSpPr/>
          <p:nvPr/>
        </p:nvSpPr>
        <p:spPr>
          <a:xfrm rot="5400000">
            <a:off x="3705227" y="1722733"/>
            <a:ext cx="4781547" cy="5488987"/>
          </a:xfrm>
          <a:custGeom>
            <a:avLst/>
            <a:gdLst>
              <a:gd name="connsiteX0" fmla="*/ 0 w 4781547"/>
              <a:gd name="connsiteY0" fmla="*/ 2744494 h 5488987"/>
              <a:gd name="connsiteX1" fmla="*/ 1372247 w 4781547"/>
              <a:gd name="connsiteY1" fmla="*/ 0 h 5488987"/>
              <a:gd name="connsiteX2" fmla="*/ 4781547 w 4781547"/>
              <a:gd name="connsiteY2" fmla="*/ 0 h 5488987"/>
              <a:gd name="connsiteX3" fmla="*/ 4781547 w 4781547"/>
              <a:gd name="connsiteY3" fmla="*/ 5488987 h 5488987"/>
              <a:gd name="connsiteX4" fmla="*/ 1372247 w 4781547"/>
              <a:gd name="connsiteY4" fmla="*/ 5488987 h 548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1547" h="5488987">
                <a:moveTo>
                  <a:pt x="0" y="2744494"/>
                </a:moveTo>
                <a:lnTo>
                  <a:pt x="1372247" y="0"/>
                </a:lnTo>
                <a:lnTo>
                  <a:pt x="4781547" y="0"/>
                </a:lnTo>
                <a:lnTo>
                  <a:pt x="4781547" y="5488987"/>
                </a:lnTo>
                <a:lnTo>
                  <a:pt x="1372247" y="5488987"/>
                </a:lnTo>
                <a:close/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541E2AE-3533-45D9-97EF-9B6851305A22}"/>
              </a:ext>
            </a:extLst>
          </p:cNvPr>
          <p:cNvSpPr txBox="1">
            <a:spLocks/>
          </p:cNvSpPr>
          <p:nvPr/>
        </p:nvSpPr>
        <p:spPr>
          <a:xfrm flipH="1">
            <a:off x="3863482" y="3932111"/>
            <a:ext cx="4465037" cy="19943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7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</a:t>
            </a:r>
          </a:p>
          <a:p>
            <a:pPr algn="ctr"/>
            <a:r>
              <a:rPr lang="en-US" sz="7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F911EDF-CA0F-4AAF-A9A3-21FF813F821F}"/>
              </a:ext>
            </a:extLst>
          </p:cNvPr>
          <p:cNvSpPr/>
          <p:nvPr/>
        </p:nvSpPr>
        <p:spPr>
          <a:xfrm rot="5400000">
            <a:off x="4309170" y="300929"/>
            <a:ext cx="3573661" cy="2971804"/>
          </a:xfrm>
          <a:custGeom>
            <a:avLst/>
            <a:gdLst>
              <a:gd name="connsiteX0" fmla="*/ 0 w 3573661"/>
              <a:gd name="connsiteY0" fmla="*/ 2971804 h 2971804"/>
              <a:gd name="connsiteX1" fmla="*/ 0 w 3573661"/>
              <a:gd name="connsiteY1" fmla="*/ 0 h 2971804"/>
              <a:gd name="connsiteX2" fmla="*/ 2830710 w 3573661"/>
              <a:gd name="connsiteY2" fmla="*/ 0 h 2971804"/>
              <a:gd name="connsiteX3" fmla="*/ 3573661 w 3573661"/>
              <a:gd name="connsiteY3" fmla="*/ 1485902 h 2971804"/>
              <a:gd name="connsiteX4" fmla="*/ 2830710 w 3573661"/>
              <a:gd name="connsiteY4" fmla="*/ 2971804 h 2971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3661" h="2971804">
                <a:moveTo>
                  <a:pt x="0" y="2971804"/>
                </a:moveTo>
                <a:lnTo>
                  <a:pt x="0" y="0"/>
                </a:lnTo>
                <a:lnTo>
                  <a:pt x="2830710" y="0"/>
                </a:lnTo>
                <a:lnTo>
                  <a:pt x="3573661" y="1485902"/>
                </a:lnTo>
                <a:lnTo>
                  <a:pt x="2830710" y="29718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7B7CE05-9456-4FE6-9D87-3180813FCA74}"/>
              </a:ext>
            </a:extLst>
          </p:cNvPr>
          <p:cNvGrpSpPr/>
          <p:nvPr/>
        </p:nvGrpSpPr>
        <p:grpSpPr>
          <a:xfrm>
            <a:off x="5524615" y="1371600"/>
            <a:ext cx="1142770" cy="1095374"/>
            <a:chOff x="4113213" y="1458913"/>
            <a:chExt cx="344488" cy="330200"/>
          </a:xfrm>
          <a:solidFill>
            <a:srgbClr val="C18653"/>
          </a:solidFill>
        </p:grpSpPr>
        <p:sp>
          <p:nvSpPr>
            <p:cNvPr id="9" name="Freeform 139">
              <a:extLst>
                <a:ext uri="{FF2B5EF4-FFF2-40B4-BE49-F238E27FC236}">
                  <a16:creationId xmlns:a16="http://schemas.microsoft.com/office/drawing/2014/main" id="{BB497BB2-A33F-4604-B122-24A70575B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1487488"/>
              <a:ext cx="344488" cy="301625"/>
            </a:xfrm>
            <a:custGeom>
              <a:avLst/>
              <a:gdLst>
                <a:gd name="T0" fmla="*/ 90 w 92"/>
                <a:gd name="T1" fmla="*/ 0 h 80"/>
                <a:gd name="T2" fmla="*/ 88 w 92"/>
                <a:gd name="T3" fmla="*/ 0 h 80"/>
                <a:gd name="T4" fmla="*/ 88 w 92"/>
                <a:gd name="T5" fmla="*/ 4 h 80"/>
                <a:gd name="T6" fmla="*/ 88 w 92"/>
                <a:gd name="T7" fmla="*/ 62 h 80"/>
                <a:gd name="T8" fmla="*/ 86 w 92"/>
                <a:gd name="T9" fmla="*/ 64 h 80"/>
                <a:gd name="T10" fmla="*/ 66 w 92"/>
                <a:gd name="T11" fmla="*/ 64 h 80"/>
                <a:gd name="T12" fmla="*/ 58 w 92"/>
                <a:gd name="T13" fmla="*/ 64 h 80"/>
                <a:gd name="T14" fmla="*/ 52 w 92"/>
                <a:gd name="T15" fmla="*/ 70 h 80"/>
                <a:gd name="T16" fmla="*/ 50 w 92"/>
                <a:gd name="T17" fmla="*/ 72 h 80"/>
                <a:gd name="T18" fmla="*/ 42 w 92"/>
                <a:gd name="T19" fmla="*/ 72 h 80"/>
                <a:gd name="T20" fmla="*/ 40 w 92"/>
                <a:gd name="T21" fmla="*/ 70 h 80"/>
                <a:gd name="T22" fmla="*/ 34 w 92"/>
                <a:gd name="T23" fmla="*/ 64 h 80"/>
                <a:gd name="T24" fmla="*/ 26 w 92"/>
                <a:gd name="T25" fmla="*/ 64 h 80"/>
                <a:gd name="T26" fmla="*/ 6 w 92"/>
                <a:gd name="T27" fmla="*/ 64 h 80"/>
                <a:gd name="T28" fmla="*/ 4 w 92"/>
                <a:gd name="T29" fmla="*/ 62 h 80"/>
                <a:gd name="T30" fmla="*/ 4 w 92"/>
                <a:gd name="T31" fmla="*/ 4 h 80"/>
                <a:gd name="T32" fmla="*/ 4 w 92"/>
                <a:gd name="T33" fmla="*/ 0 h 80"/>
                <a:gd name="T34" fmla="*/ 2 w 92"/>
                <a:gd name="T35" fmla="*/ 0 h 80"/>
                <a:gd name="T36" fmla="*/ 0 w 92"/>
                <a:gd name="T37" fmla="*/ 2 h 80"/>
                <a:gd name="T38" fmla="*/ 0 w 92"/>
                <a:gd name="T39" fmla="*/ 66 h 80"/>
                <a:gd name="T40" fmla="*/ 2 w 92"/>
                <a:gd name="T41" fmla="*/ 68 h 80"/>
                <a:gd name="T42" fmla="*/ 26 w 92"/>
                <a:gd name="T43" fmla="*/ 68 h 80"/>
                <a:gd name="T44" fmla="*/ 38 w 92"/>
                <a:gd name="T45" fmla="*/ 78 h 80"/>
                <a:gd name="T46" fmla="*/ 40 w 92"/>
                <a:gd name="T47" fmla="*/ 80 h 80"/>
                <a:gd name="T48" fmla="*/ 52 w 92"/>
                <a:gd name="T49" fmla="*/ 80 h 80"/>
                <a:gd name="T50" fmla="*/ 54 w 92"/>
                <a:gd name="T51" fmla="*/ 78 h 80"/>
                <a:gd name="T52" fmla="*/ 66 w 92"/>
                <a:gd name="T53" fmla="*/ 68 h 80"/>
                <a:gd name="T54" fmla="*/ 90 w 92"/>
                <a:gd name="T55" fmla="*/ 68 h 80"/>
                <a:gd name="T56" fmla="*/ 92 w 92"/>
                <a:gd name="T57" fmla="*/ 66 h 80"/>
                <a:gd name="T58" fmla="*/ 92 w 92"/>
                <a:gd name="T59" fmla="*/ 2 h 80"/>
                <a:gd name="T60" fmla="*/ 90 w 92"/>
                <a:gd name="T6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80">
                  <a:moveTo>
                    <a:pt x="90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7" y="64"/>
                    <a:pt x="86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3" y="64"/>
                    <a:pt x="52" y="65"/>
                    <a:pt x="52" y="70"/>
                  </a:cubicBezTo>
                  <a:cubicBezTo>
                    <a:pt x="52" y="71"/>
                    <a:pt x="51" y="72"/>
                    <a:pt x="50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1" y="72"/>
                    <a:pt x="40" y="71"/>
                    <a:pt x="40" y="70"/>
                  </a:cubicBezTo>
                  <a:cubicBezTo>
                    <a:pt x="40" y="65"/>
                    <a:pt x="39" y="64"/>
                    <a:pt x="34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5" y="64"/>
                    <a:pt x="4" y="63"/>
                    <a:pt x="4" y="6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30" y="68"/>
                    <a:pt x="38" y="69"/>
                    <a:pt x="38" y="78"/>
                  </a:cubicBezTo>
                  <a:cubicBezTo>
                    <a:pt x="38" y="79"/>
                    <a:pt x="39" y="80"/>
                    <a:pt x="40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3" y="80"/>
                    <a:pt x="54" y="79"/>
                    <a:pt x="54" y="78"/>
                  </a:cubicBezTo>
                  <a:cubicBezTo>
                    <a:pt x="54" y="69"/>
                    <a:pt x="62" y="68"/>
                    <a:pt x="66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1" y="68"/>
                    <a:pt x="92" y="67"/>
                    <a:pt x="92" y="66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140">
              <a:extLst>
                <a:ext uri="{FF2B5EF4-FFF2-40B4-BE49-F238E27FC236}">
                  <a16:creationId xmlns:a16="http://schemas.microsoft.com/office/drawing/2014/main" id="{F03B2FC2-8394-4185-9E1F-49AF45507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600" y="1458913"/>
              <a:ext cx="134938" cy="285750"/>
            </a:xfrm>
            <a:custGeom>
              <a:avLst/>
              <a:gdLst>
                <a:gd name="T0" fmla="*/ 10 w 36"/>
                <a:gd name="T1" fmla="*/ 68 h 76"/>
                <a:gd name="T2" fmla="*/ 34 w 36"/>
                <a:gd name="T3" fmla="*/ 68 h 76"/>
                <a:gd name="T4" fmla="*/ 36 w 36"/>
                <a:gd name="T5" fmla="*/ 68 h 76"/>
                <a:gd name="T6" fmla="*/ 36 w 36"/>
                <a:gd name="T7" fmla="*/ 66 h 76"/>
                <a:gd name="T8" fmla="*/ 36 w 36"/>
                <a:gd name="T9" fmla="*/ 2 h 76"/>
                <a:gd name="T10" fmla="*/ 34 w 36"/>
                <a:gd name="T11" fmla="*/ 0 h 76"/>
                <a:gd name="T12" fmla="*/ 10 w 36"/>
                <a:gd name="T13" fmla="*/ 0 h 76"/>
                <a:gd name="T14" fmla="*/ 0 w 36"/>
                <a:gd name="T15" fmla="*/ 3 h 76"/>
                <a:gd name="T16" fmla="*/ 0 w 36"/>
                <a:gd name="T17" fmla="*/ 76 h 76"/>
                <a:gd name="T18" fmla="*/ 0 w 36"/>
                <a:gd name="T19" fmla="*/ 76 h 76"/>
                <a:gd name="T20" fmla="*/ 10 w 36"/>
                <a:gd name="T21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76">
                  <a:moveTo>
                    <a:pt x="10" y="68"/>
                  </a:moveTo>
                  <a:cubicBezTo>
                    <a:pt x="34" y="68"/>
                    <a:pt x="34" y="68"/>
                    <a:pt x="34" y="68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0"/>
                    <a:pt x="3" y="1"/>
                    <a:pt x="0" y="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" y="71"/>
                    <a:pt x="4" y="68"/>
                    <a:pt x="10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141">
              <a:extLst>
                <a:ext uri="{FF2B5EF4-FFF2-40B4-BE49-F238E27FC236}">
                  <a16:creationId xmlns:a16="http://schemas.microsoft.com/office/drawing/2014/main" id="{6D187988-686D-4C79-B182-98E4A117E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1458913"/>
              <a:ext cx="134938" cy="285750"/>
            </a:xfrm>
            <a:custGeom>
              <a:avLst/>
              <a:gdLst>
                <a:gd name="T0" fmla="*/ 26 w 36"/>
                <a:gd name="T1" fmla="*/ 68 h 76"/>
                <a:gd name="T2" fmla="*/ 36 w 36"/>
                <a:gd name="T3" fmla="*/ 76 h 76"/>
                <a:gd name="T4" fmla="*/ 36 w 36"/>
                <a:gd name="T5" fmla="*/ 76 h 76"/>
                <a:gd name="T6" fmla="*/ 36 w 36"/>
                <a:gd name="T7" fmla="*/ 3 h 76"/>
                <a:gd name="T8" fmla="*/ 26 w 36"/>
                <a:gd name="T9" fmla="*/ 0 h 76"/>
                <a:gd name="T10" fmla="*/ 2 w 36"/>
                <a:gd name="T11" fmla="*/ 0 h 76"/>
                <a:gd name="T12" fmla="*/ 0 w 36"/>
                <a:gd name="T13" fmla="*/ 2 h 76"/>
                <a:gd name="T14" fmla="*/ 0 w 36"/>
                <a:gd name="T15" fmla="*/ 66 h 76"/>
                <a:gd name="T16" fmla="*/ 0 w 36"/>
                <a:gd name="T17" fmla="*/ 68 h 76"/>
                <a:gd name="T18" fmla="*/ 2 w 36"/>
                <a:gd name="T19" fmla="*/ 68 h 76"/>
                <a:gd name="T20" fmla="*/ 26 w 36"/>
                <a:gd name="T21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76">
                  <a:moveTo>
                    <a:pt x="26" y="68"/>
                  </a:moveTo>
                  <a:cubicBezTo>
                    <a:pt x="32" y="68"/>
                    <a:pt x="35" y="71"/>
                    <a:pt x="36" y="76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3" y="1"/>
                    <a:pt x="30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2" y="68"/>
                    <a:pt x="2" y="68"/>
                    <a:pt x="2" y="68"/>
                  </a:cubicBezTo>
                  <a:lnTo>
                    <a:pt x="26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4DCD839-8BAC-4502-872D-09C1B82FA7D4}"/>
              </a:ext>
            </a:extLst>
          </p:cNvPr>
          <p:cNvCxnSpPr>
            <a:cxnSpLocks/>
          </p:cNvCxnSpPr>
          <p:nvPr/>
        </p:nvCxnSpPr>
        <p:spPr>
          <a:xfrm flipH="1" flipV="1">
            <a:off x="7971998" y="2745599"/>
            <a:ext cx="4220003" cy="21090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22DD6BB-6A29-4519-B35C-8AA591663F78}"/>
              </a:ext>
            </a:extLst>
          </p:cNvPr>
          <p:cNvCxnSpPr>
            <a:cxnSpLocks/>
          </p:cNvCxnSpPr>
          <p:nvPr/>
        </p:nvCxnSpPr>
        <p:spPr>
          <a:xfrm flipH="1" flipV="1">
            <a:off x="0" y="2745599"/>
            <a:ext cx="4220003" cy="21090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9300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AA429E31-58A5-4A1F-9D31-51F4704F063D}"/>
              </a:ext>
            </a:extLst>
          </p:cNvPr>
          <p:cNvSpPr/>
          <p:nvPr/>
        </p:nvSpPr>
        <p:spPr>
          <a:xfrm>
            <a:off x="1117601" y="1524000"/>
            <a:ext cx="7583943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EDF50600-4FD6-439D-8EA8-A0F8D50AAFDD}"/>
              </a:ext>
            </a:extLst>
          </p:cNvPr>
          <p:cNvSpPr/>
          <p:nvPr/>
        </p:nvSpPr>
        <p:spPr>
          <a:xfrm>
            <a:off x="533400" y="1524000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B54348-83A8-4070-A5E3-9DF6DBBF7080}"/>
              </a:ext>
            </a:extLst>
          </p:cNvPr>
          <p:cNvSpPr txBox="1"/>
          <p:nvPr/>
        </p:nvSpPr>
        <p:spPr>
          <a:xfrm>
            <a:off x="2371637" y="1915568"/>
            <a:ext cx="4953724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ổng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qua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512CC1-0835-4A9D-A8ED-36787F3855BC}"/>
              </a:ext>
            </a:extLst>
          </p:cNvPr>
          <p:cNvCxnSpPr>
            <a:cxnSpLocks/>
          </p:cNvCxnSpPr>
          <p:nvPr/>
        </p:nvCxnSpPr>
        <p:spPr>
          <a:xfrm>
            <a:off x="10541820" y="2648346"/>
            <a:ext cx="1650181" cy="32688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3" name="Freeform 176">
            <a:extLst>
              <a:ext uri="{FF2B5EF4-FFF2-40B4-BE49-F238E27FC236}">
                <a16:creationId xmlns:a16="http://schemas.microsoft.com/office/drawing/2014/main" id="{3030EB6F-4D84-4EF5-8813-4EAFA6394828}"/>
              </a:ext>
            </a:extLst>
          </p:cNvPr>
          <p:cNvSpPr>
            <a:spLocks noEditPoints="1"/>
          </p:cNvSpPr>
          <p:nvPr/>
        </p:nvSpPr>
        <p:spPr bwMode="auto">
          <a:xfrm>
            <a:off x="1079502" y="1936895"/>
            <a:ext cx="482599" cy="531796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41 w 87"/>
              <a:gd name="T35" fmla="*/ 60 h 96"/>
              <a:gd name="T36" fmla="*/ 40 w 87"/>
              <a:gd name="T37" fmla="*/ 60 h 96"/>
              <a:gd name="T38" fmla="*/ 39 w 87"/>
              <a:gd name="T39" fmla="*/ 60 h 96"/>
              <a:gd name="T40" fmla="*/ 18 w 87"/>
              <a:gd name="T41" fmla="*/ 33 h 96"/>
              <a:gd name="T42" fmla="*/ 30 w 87"/>
              <a:gd name="T43" fmla="*/ 20 h 96"/>
              <a:gd name="T44" fmla="*/ 40 w 87"/>
              <a:gd name="T45" fmla="*/ 26 h 96"/>
              <a:gd name="T46" fmla="*/ 50 w 87"/>
              <a:gd name="T47" fmla="*/ 20 h 96"/>
              <a:gd name="T48" fmla="*/ 62 w 87"/>
              <a:gd name="T49" fmla="*/ 33 h 96"/>
              <a:gd name="T50" fmla="*/ 41 w 87"/>
              <a:gd name="T5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41" y="60"/>
                </a:moveTo>
                <a:cubicBezTo>
                  <a:pt x="41" y="60"/>
                  <a:pt x="40" y="60"/>
                  <a:pt x="40" y="60"/>
                </a:cubicBezTo>
                <a:cubicBezTo>
                  <a:pt x="40" y="60"/>
                  <a:pt x="39" y="60"/>
                  <a:pt x="39" y="60"/>
                </a:cubicBezTo>
                <a:cubicBezTo>
                  <a:pt x="37" y="58"/>
                  <a:pt x="18" y="45"/>
                  <a:pt x="18" y="33"/>
                </a:cubicBezTo>
                <a:cubicBezTo>
                  <a:pt x="18" y="25"/>
                  <a:pt x="24" y="20"/>
                  <a:pt x="30" y="20"/>
                </a:cubicBezTo>
                <a:cubicBezTo>
                  <a:pt x="33" y="20"/>
                  <a:pt x="37" y="22"/>
                  <a:pt x="40" y="26"/>
                </a:cubicBezTo>
                <a:cubicBezTo>
                  <a:pt x="43" y="22"/>
                  <a:pt x="47" y="20"/>
                  <a:pt x="50" y="20"/>
                </a:cubicBezTo>
                <a:cubicBezTo>
                  <a:pt x="56" y="20"/>
                  <a:pt x="62" y="25"/>
                  <a:pt x="62" y="33"/>
                </a:cubicBezTo>
                <a:cubicBezTo>
                  <a:pt x="62" y="45"/>
                  <a:pt x="43" y="58"/>
                  <a:pt x="41" y="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13676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DE7838-21F5-46E4-BC07-E7C79DF86F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DE7838-21F5-46E4-BC07-E7C79DF86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75294-F1EA-420D-B0C6-1A373F308F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3" name="Picture 32" descr="A picture containing text&#10;&#10;Description automatically generated">
            <a:extLst>
              <a:ext uri="{FF2B5EF4-FFF2-40B4-BE49-F238E27FC236}">
                <a16:creationId xmlns:a16="http://schemas.microsoft.com/office/drawing/2014/main" id="{E2299BC0-F629-4FC4-9926-18A7C03D1B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759" b="32098"/>
          <a:stretch/>
        </p:blipFill>
        <p:spPr>
          <a:xfrm>
            <a:off x="0" y="1524000"/>
            <a:ext cx="12192000" cy="1799771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76D6CB1-4C05-4888-BE03-DFB60E2947AE}"/>
              </a:ext>
            </a:extLst>
          </p:cNvPr>
          <p:cNvSpPr/>
          <p:nvPr/>
        </p:nvSpPr>
        <p:spPr>
          <a:xfrm flipH="1" flipV="1">
            <a:off x="0" y="5673558"/>
            <a:ext cx="1113968" cy="1184440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CF99A1-62E7-4600-9ACC-2FE31221AD31}"/>
              </a:ext>
            </a:extLst>
          </p:cNvPr>
          <p:cNvSpPr/>
          <p:nvPr/>
        </p:nvSpPr>
        <p:spPr>
          <a:xfrm>
            <a:off x="0" y="1524000"/>
            <a:ext cx="12192000" cy="1799771"/>
          </a:xfrm>
          <a:prstGeom prst="rect">
            <a:avLst/>
          </a:pr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339372F-726C-4FC8-919E-787DEEBD065D}"/>
              </a:ext>
            </a:extLst>
          </p:cNvPr>
          <p:cNvSpPr/>
          <p:nvPr/>
        </p:nvSpPr>
        <p:spPr>
          <a:xfrm>
            <a:off x="9065987" y="1"/>
            <a:ext cx="3126013" cy="3323771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C0FC05-D602-4E92-91C6-E47BC459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hách</a:t>
            </a:r>
            <a:r>
              <a:rPr lang="en-US" dirty="0"/>
              <a:t> </a:t>
            </a:r>
            <a:r>
              <a:rPr lang="en-US" dirty="0" err="1"/>
              <a:t>hàng</a:t>
            </a:r>
            <a:r>
              <a:rPr lang="en-US" dirty="0"/>
              <a:t> </a:t>
            </a:r>
            <a:r>
              <a:rPr lang="en-US" dirty="0" err="1"/>
              <a:t>mục</a:t>
            </a:r>
            <a:r>
              <a:rPr lang="en-US" dirty="0"/>
              <a:t> </a:t>
            </a:r>
            <a:r>
              <a:rPr lang="en-US" dirty="0" err="1"/>
              <a:t>tiêu</a:t>
            </a:r>
            <a:endParaRPr lang="en-ID" dirty="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F6B2445B-6B88-4862-9043-978B6E786056}"/>
              </a:ext>
            </a:extLst>
          </p:cNvPr>
          <p:cNvSpPr/>
          <p:nvPr/>
        </p:nvSpPr>
        <p:spPr>
          <a:xfrm>
            <a:off x="1001486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6933E7-F03B-49B2-A7DD-9103EAEAFAE3}"/>
              </a:ext>
            </a:extLst>
          </p:cNvPr>
          <p:cNvSpPr txBox="1"/>
          <p:nvPr/>
        </p:nvSpPr>
        <p:spPr>
          <a:xfrm>
            <a:off x="1001486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Logis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0954CF-786A-447A-B90B-CCCA528EFC4E}"/>
              </a:ext>
            </a:extLst>
          </p:cNvPr>
          <p:cNvSpPr txBox="1"/>
          <p:nvPr/>
        </p:nvSpPr>
        <p:spPr>
          <a:xfrm>
            <a:off x="1001486" y="4148355"/>
            <a:ext cx="3065689" cy="25471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đối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ác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vị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í</a:t>
            </a:r>
            <a:r>
              <a:rPr lang="en-ID" sz="1600" b="0" i="0" dirty="0">
                <a:effectLst/>
              </a:rPr>
              <a:t>, </a:t>
            </a:r>
            <a:r>
              <a:rPr lang="en-ID" sz="1600" b="0" i="0" dirty="0" err="1">
                <a:effectLst/>
              </a:rPr>
              <a:t>tì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ạng</a:t>
            </a:r>
            <a:r>
              <a:rPr lang="en-ID" sz="1600" b="0" i="0" dirty="0">
                <a:effectLst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Phâ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quyề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kho</a:t>
            </a:r>
            <a:r>
              <a:rPr lang="en-ID" sz="1600" dirty="0"/>
              <a:t>, </a:t>
            </a:r>
            <a:r>
              <a:rPr lang="en-ID" sz="1600" dirty="0" err="1"/>
              <a:t>khách</a:t>
            </a:r>
            <a:r>
              <a:rPr lang="en-ID" sz="1600" dirty="0"/>
              <a:t> </a:t>
            </a:r>
            <a:r>
              <a:rPr lang="en-ID" sz="1600" dirty="0" err="1"/>
              <a:t>hàng</a:t>
            </a:r>
            <a:endParaRPr lang="en-ID" sz="16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dirty="0" err="1"/>
              <a:t>Cảnh</a:t>
            </a:r>
            <a:r>
              <a:rPr lang="en-ID" sz="1600" dirty="0"/>
              <a:t> </a:t>
            </a:r>
            <a:r>
              <a:rPr lang="en-ID" sz="1600" dirty="0" err="1"/>
              <a:t>báo</a:t>
            </a:r>
            <a:r>
              <a:rPr lang="en-ID" sz="1600" dirty="0"/>
              <a:t> </a:t>
            </a:r>
            <a:r>
              <a:rPr lang="en-ID" sz="1600" dirty="0" err="1"/>
              <a:t>tồn</a:t>
            </a:r>
            <a:r>
              <a:rPr lang="en-ID" sz="1600" dirty="0"/>
              <a:t> </a:t>
            </a:r>
            <a:r>
              <a:rPr lang="en-ID" sz="1600" dirty="0" err="1"/>
              <a:t>kho</a:t>
            </a:r>
            <a:r>
              <a:rPr lang="en-ID" sz="1600" dirty="0"/>
              <a:t> </a:t>
            </a:r>
            <a:r>
              <a:rPr lang="en-ID" sz="1600" dirty="0" err="1"/>
              <a:t>quá</a:t>
            </a:r>
            <a:r>
              <a:rPr lang="en-ID" sz="1600" dirty="0"/>
              <a:t> </a:t>
            </a:r>
            <a:r>
              <a:rPr lang="en-ID" sz="1600" dirty="0" err="1"/>
              <a:t>hạn</a:t>
            </a:r>
            <a:endParaRPr lang="en-ID" sz="16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</a:t>
            </a:r>
            <a:r>
              <a:rPr lang="en-ID" sz="1600" dirty="0" err="1"/>
              <a:t>ản</a:t>
            </a:r>
            <a:r>
              <a:rPr lang="en-ID" sz="1600" dirty="0"/>
              <a:t> </a:t>
            </a:r>
            <a:r>
              <a:rPr lang="en-ID" sz="1600" dirty="0" err="1"/>
              <a:t>lý</a:t>
            </a:r>
            <a:r>
              <a:rPr lang="en-ID" sz="1600" dirty="0"/>
              <a:t> </a:t>
            </a:r>
            <a:r>
              <a:rPr lang="en-ID" sz="1600" dirty="0" err="1"/>
              <a:t>vận</a:t>
            </a:r>
            <a:r>
              <a:rPr lang="en-ID" sz="1600" dirty="0"/>
              <a:t> </a:t>
            </a:r>
            <a:r>
              <a:rPr lang="en-ID" sz="1600" dirty="0" err="1"/>
              <a:t>chuyển</a:t>
            </a:r>
            <a:endParaRPr lang="en-ID" sz="1600" b="0" i="0" dirty="0">
              <a:effectLst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73490E3-4014-4B61-84B6-4529E742BE68}"/>
              </a:ext>
            </a:extLst>
          </p:cNvPr>
          <p:cNvSpPr/>
          <p:nvPr/>
        </p:nvSpPr>
        <p:spPr>
          <a:xfrm>
            <a:off x="4755244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2323E2-55D2-4AC5-A01B-7B63825CE319}"/>
              </a:ext>
            </a:extLst>
          </p:cNvPr>
          <p:cNvSpPr txBox="1"/>
          <p:nvPr/>
        </p:nvSpPr>
        <p:spPr>
          <a:xfrm>
            <a:off x="4755244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sả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xuất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720DE7-0531-45AB-BB16-14285F82105A}"/>
              </a:ext>
            </a:extLst>
          </p:cNvPr>
          <p:cNvSpPr txBox="1"/>
          <p:nvPr/>
        </p:nvSpPr>
        <p:spPr>
          <a:xfrm>
            <a:off x="4755244" y="4148355"/>
            <a:ext cx="2681513" cy="28315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vị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í</a:t>
            </a:r>
            <a:r>
              <a:rPr lang="en-ID" sz="1600" b="0" i="0" dirty="0">
                <a:effectLst/>
              </a:rPr>
              <a:t>, </a:t>
            </a:r>
            <a:r>
              <a:rPr lang="en-ID" sz="1600" b="0" i="0" dirty="0" err="1">
                <a:effectLst/>
              </a:rPr>
              <a:t>tì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ạng</a:t>
            </a:r>
            <a:r>
              <a:rPr lang="en-ID" sz="1600" b="0" i="0" dirty="0">
                <a:effectLst/>
              </a:rPr>
              <a:t>, seri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bộ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Xuất</a:t>
            </a:r>
            <a:r>
              <a:rPr lang="en-ID" sz="1600" b="0" i="0" dirty="0">
                <a:effectLst/>
              </a:rPr>
              <a:t>/</a:t>
            </a:r>
            <a:r>
              <a:rPr lang="en-ID" sz="1600" b="0" i="0" dirty="0" err="1">
                <a:effectLst/>
              </a:rPr>
              <a:t>nhập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kh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ạ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dù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dirty="0" err="1"/>
              <a:t>Cảnh</a:t>
            </a:r>
            <a:r>
              <a:rPr lang="en-ID" sz="1600" dirty="0"/>
              <a:t> </a:t>
            </a:r>
            <a:r>
              <a:rPr lang="en-ID" sz="1600" dirty="0" err="1"/>
              <a:t>báo</a:t>
            </a:r>
            <a:r>
              <a:rPr lang="en-ID" sz="1600" dirty="0"/>
              <a:t> </a:t>
            </a:r>
            <a:r>
              <a:rPr lang="en-ID" sz="1600" dirty="0" err="1"/>
              <a:t>tồn</a:t>
            </a:r>
            <a:r>
              <a:rPr lang="en-ID" sz="1600" dirty="0"/>
              <a:t> </a:t>
            </a:r>
            <a:r>
              <a:rPr lang="en-ID" sz="1600" dirty="0" err="1"/>
              <a:t>kho</a:t>
            </a:r>
            <a:r>
              <a:rPr lang="en-ID" sz="1600" dirty="0"/>
              <a:t> </a:t>
            </a:r>
            <a:r>
              <a:rPr lang="en-ID" sz="1600" dirty="0" err="1"/>
              <a:t>quá</a:t>
            </a:r>
            <a:r>
              <a:rPr lang="en-ID" sz="1600" dirty="0"/>
              <a:t> </a:t>
            </a:r>
            <a:r>
              <a:rPr lang="en-ID" sz="1600" dirty="0" err="1"/>
              <a:t>hạn</a:t>
            </a:r>
            <a:r>
              <a:rPr lang="en-ID" sz="1600" dirty="0"/>
              <a:t>/ </a:t>
            </a:r>
            <a:r>
              <a:rPr lang="en-ID" sz="1600" dirty="0" err="1"/>
              <a:t>tồn</a:t>
            </a:r>
            <a:r>
              <a:rPr lang="en-ID" sz="1600" dirty="0"/>
              <a:t> </a:t>
            </a:r>
            <a:r>
              <a:rPr lang="en-ID" sz="1600" dirty="0" err="1"/>
              <a:t>kho</a:t>
            </a:r>
            <a:r>
              <a:rPr lang="en-ID" sz="1600" dirty="0"/>
              <a:t> </a:t>
            </a:r>
            <a:r>
              <a:rPr lang="en-ID" sz="1600" dirty="0" err="1"/>
              <a:t>dưới</a:t>
            </a:r>
            <a:r>
              <a:rPr lang="en-ID" sz="1600" dirty="0"/>
              <a:t> </a:t>
            </a:r>
            <a:r>
              <a:rPr lang="en-ID" sz="1600" dirty="0" err="1"/>
              <a:t>định</a:t>
            </a:r>
            <a:r>
              <a:rPr lang="en-ID" sz="1600" dirty="0"/>
              <a:t> </a:t>
            </a:r>
            <a:r>
              <a:rPr lang="en-ID" sz="1600" dirty="0" err="1"/>
              <a:t>mức</a:t>
            </a:r>
            <a:endParaRPr lang="en-ID" sz="1600" b="0" i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D" sz="1600" b="0" i="0" dirty="0">
              <a:effectLst/>
            </a:endParaRPr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9DECFBB-53CD-4D1E-A398-9F39B2903CFA}"/>
              </a:ext>
            </a:extLst>
          </p:cNvPr>
          <p:cNvSpPr/>
          <p:nvPr/>
        </p:nvSpPr>
        <p:spPr>
          <a:xfrm>
            <a:off x="8509003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10B4AB-763E-4471-9E35-6E3FF2B29311}"/>
              </a:ext>
            </a:extLst>
          </p:cNvPr>
          <p:cNvSpPr txBox="1"/>
          <p:nvPr/>
        </p:nvSpPr>
        <p:spPr>
          <a:xfrm>
            <a:off x="8509003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Nhà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â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ối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65842C-68F4-4B0E-8AB9-26F5FCA55D6A}"/>
              </a:ext>
            </a:extLst>
          </p:cNvPr>
          <p:cNvSpPr txBox="1"/>
          <p:nvPr/>
        </p:nvSpPr>
        <p:spPr>
          <a:xfrm>
            <a:off x="8509003" y="4148355"/>
            <a:ext cx="2681513" cy="25471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vị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í</a:t>
            </a:r>
            <a:r>
              <a:rPr lang="en-ID" sz="1600" b="0" i="0" dirty="0">
                <a:effectLst/>
              </a:rPr>
              <a:t>, </a:t>
            </a:r>
            <a:r>
              <a:rPr lang="en-ID" sz="1600" b="0" i="0" dirty="0" err="1">
                <a:effectLst/>
              </a:rPr>
              <a:t>tì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ạ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giá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nhập</a:t>
            </a:r>
            <a:r>
              <a:rPr lang="en-ID" sz="1600" b="0" i="0" dirty="0">
                <a:effectLst/>
              </a:rPr>
              <a:t>/</a:t>
            </a:r>
            <a:r>
              <a:rPr lang="en-ID" sz="1600" b="0" i="0" dirty="0" err="1">
                <a:effectLst/>
              </a:rPr>
              <a:t>xuất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Xuất</a:t>
            </a:r>
            <a:r>
              <a:rPr lang="en-ID" sz="1600" b="0" i="0" dirty="0">
                <a:effectLst/>
              </a:rPr>
              <a:t>/</a:t>
            </a:r>
            <a:r>
              <a:rPr lang="en-ID" sz="1600" b="0" i="0" dirty="0" err="1">
                <a:effectLst/>
              </a:rPr>
              <a:t>nhập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kh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ạ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dù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Cá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bá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iếu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dirty="0" err="1"/>
              <a:t>Quản</a:t>
            </a:r>
            <a:r>
              <a:rPr lang="en-ID" sz="1600" dirty="0"/>
              <a:t> </a:t>
            </a:r>
            <a:r>
              <a:rPr lang="en-ID" sz="1600" dirty="0" err="1"/>
              <a:t>lý</a:t>
            </a:r>
            <a:r>
              <a:rPr lang="en-ID" sz="1600" dirty="0"/>
              <a:t> </a:t>
            </a:r>
            <a:r>
              <a:rPr lang="en-ID" sz="1600" dirty="0" err="1"/>
              <a:t>doanh</a:t>
            </a:r>
            <a:r>
              <a:rPr lang="en-ID" sz="1600" dirty="0"/>
              <a:t> </a:t>
            </a:r>
            <a:r>
              <a:rPr lang="en-ID" sz="1600" dirty="0" err="1"/>
              <a:t>thu</a:t>
            </a:r>
            <a:endParaRPr lang="en-ID" sz="1600" b="0" i="0" dirty="0">
              <a:effectLst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B5C374A-59D7-4D70-8016-EDC39D74C54F}"/>
              </a:ext>
            </a:extLst>
          </p:cNvPr>
          <p:cNvGrpSpPr/>
          <p:nvPr/>
        </p:nvGrpSpPr>
        <p:grpSpPr>
          <a:xfrm>
            <a:off x="1378289" y="3157877"/>
            <a:ext cx="360363" cy="331788"/>
            <a:chOff x="6997700" y="2901951"/>
            <a:chExt cx="360363" cy="331788"/>
          </a:xfrm>
          <a:solidFill>
            <a:schemeClr val="bg1"/>
          </a:solidFill>
        </p:grpSpPr>
        <p:sp>
          <p:nvSpPr>
            <p:cNvPr id="35" name="Freeform 164">
              <a:extLst>
                <a:ext uri="{FF2B5EF4-FFF2-40B4-BE49-F238E27FC236}">
                  <a16:creationId xmlns:a16="http://schemas.microsoft.com/office/drawing/2014/main" id="{C003496E-D5F0-44ED-BD1C-D3FE4AC6A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3162301"/>
              <a:ext cx="360363" cy="71438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165">
              <a:extLst>
                <a:ext uri="{FF2B5EF4-FFF2-40B4-BE49-F238E27FC236}">
                  <a16:creationId xmlns:a16="http://schemas.microsoft.com/office/drawing/2014/main" id="{1017A074-6526-41BE-8D83-C0732B7AF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2901951"/>
              <a:ext cx="90488" cy="90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66">
              <a:extLst>
                <a:ext uri="{FF2B5EF4-FFF2-40B4-BE49-F238E27FC236}">
                  <a16:creationId xmlns:a16="http://schemas.microsoft.com/office/drawing/2014/main" id="{37637B83-0E38-4D9F-AFB6-2CFC5786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3008313"/>
              <a:ext cx="90488" cy="149225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Oval 167">
              <a:extLst>
                <a:ext uri="{FF2B5EF4-FFF2-40B4-BE49-F238E27FC236}">
                  <a16:creationId xmlns:a16="http://schemas.microsoft.com/office/drawing/2014/main" id="{401BFA27-59D0-4AE7-8DF3-FE9CC438C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68">
              <a:extLst>
                <a:ext uri="{FF2B5EF4-FFF2-40B4-BE49-F238E27FC236}">
                  <a16:creationId xmlns:a16="http://schemas.microsoft.com/office/drawing/2014/main" id="{89DB1272-FB80-40A7-B819-35D0144B0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169">
              <a:extLst>
                <a:ext uri="{FF2B5EF4-FFF2-40B4-BE49-F238E27FC236}">
                  <a16:creationId xmlns:a16="http://schemas.microsoft.com/office/drawing/2014/main" id="{EC4F3951-C90E-4546-A0F0-7B76BEAB2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150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70">
              <a:extLst>
                <a:ext uri="{FF2B5EF4-FFF2-40B4-BE49-F238E27FC236}">
                  <a16:creationId xmlns:a16="http://schemas.microsoft.com/office/drawing/2014/main" id="{DCED3C13-4802-4411-934B-A91D33CA7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Freeform 6">
            <a:extLst>
              <a:ext uri="{FF2B5EF4-FFF2-40B4-BE49-F238E27FC236}">
                <a16:creationId xmlns:a16="http://schemas.microsoft.com/office/drawing/2014/main" id="{102CDB21-AA68-42B0-8426-36A64387049D}"/>
              </a:ext>
            </a:extLst>
          </p:cNvPr>
          <p:cNvSpPr>
            <a:spLocks/>
          </p:cNvSpPr>
          <p:nvPr/>
        </p:nvSpPr>
        <p:spPr bwMode="auto">
          <a:xfrm>
            <a:off x="5132047" y="3138034"/>
            <a:ext cx="360364" cy="371476"/>
          </a:xfrm>
          <a:custGeom>
            <a:avLst/>
            <a:gdLst>
              <a:gd name="T0" fmla="*/ 86 w 96"/>
              <a:gd name="T1" fmla="*/ 72 h 96"/>
              <a:gd name="T2" fmla="*/ 60 w 96"/>
              <a:gd name="T3" fmla="*/ 48 h 96"/>
              <a:gd name="T4" fmla="*/ 50 w 96"/>
              <a:gd name="T5" fmla="*/ 48 h 96"/>
              <a:gd name="T6" fmla="*/ 50 w 96"/>
              <a:gd name="T7" fmla="*/ 24 h 96"/>
              <a:gd name="T8" fmla="*/ 60 w 96"/>
              <a:gd name="T9" fmla="*/ 12 h 96"/>
              <a:gd name="T10" fmla="*/ 48 w 96"/>
              <a:gd name="T11" fmla="*/ 0 h 96"/>
              <a:gd name="T12" fmla="*/ 36 w 96"/>
              <a:gd name="T13" fmla="*/ 12 h 96"/>
              <a:gd name="T14" fmla="*/ 46 w 96"/>
              <a:gd name="T15" fmla="*/ 24 h 96"/>
              <a:gd name="T16" fmla="*/ 46 w 96"/>
              <a:gd name="T17" fmla="*/ 48 h 96"/>
              <a:gd name="T18" fmla="*/ 36 w 96"/>
              <a:gd name="T19" fmla="*/ 48 h 96"/>
              <a:gd name="T20" fmla="*/ 10 w 96"/>
              <a:gd name="T21" fmla="*/ 72 h 96"/>
              <a:gd name="T22" fmla="*/ 0 w 96"/>
              <a:gd name="T23" fmla="*/ 84 h 96"/>
              <a:gd name="T24" fmla="*/ 12 w 96"/>
              <a:gd name="T25" fmla="*/ 96 h 96"/>
              <a:gd name="T26" fmla="*/ 24 w 96"/>
              <a:gd name="T27" fmla="*/ 84 h 96"/>
              <a:gd name="T28" fmla="*/ 14 w 96"/>
              <a:gd name="T29" fmla="*/ 72 h 96"/>
              <a:gd name="T30" fmla="*/ 36 w 96"/>
              <a:gd name="T31" fmla="*/ 52 h 96"/>
              <a:gd name="T32" fmla="*/ 46 w 96"/>
              <a:gd name="T33" fmla="*/ 52 h 96"/>
              <a:gd name="T34" fmla="*/ 46 w 96"/>
              <a:gd name="T35" fmla="*/ 72 h 96"/>
              <a:gd name="T36" fmla="*/ 36 w 96"/>
              <a:gd name="T37" fmla="*/ 84 h 96"/>
              <a:gd name="T38" fmla="*/ 48 w 96"/>
              <a:gd name="T39" fmla="*/ 96 h 96"/>
              <a:gd name="T40" fmla="*/ 60 w 96"/>
              <a:gd name="T41" fmla="*/ 84 h 96"/>
              <a:gd name="T42" fmla="*/ 50 w 96"/>
              <a:gd name="T43" fmla="*/ 72 h 96"/>
              <a:gd name="T44" fmla="*/ 50 w 96"/>
              <a:gd name="T45" fmla="*/ 52 h 96"/>
              <a:gd name="T46" fmla="*/ 60 w 96"/>
              <a:gd name="T47" fmla="*/ 52 h 96"/>
              <a:gd name="T48" fmla="*/ 82 w 96"/>
              <a:gd name="T49" fmla="*/ 72 h 96"/>
              <a:gd name="T50" fmla="*/ 72 w 96"/>
              <a:gd name="T51" fmla="*/ 84 h 96"/>
              <a:gd name="T52" fmla="*/ 84 w 96"/>
              <a:gd name="T53" fmla="*/ 96 h 96"/>
              <a:gd name="T54" fmla="*/ 96 w 96"/>
              <a:gd name="T55" fmla="*/ 84 h 96"/>
              <a:gd name="T56" fmla="*/ 86 w 96"/>
              <a:gd name="T57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6" h="96">
                <a:moveTo>
                  <a:pt x="86" y="72"/>
                </a:moveTo>
                <a:cubicBezTo>
                  <a:pt x="85" y="59"/>
                  <a:pt x="74" y="48"/>
                  <a:pt x="60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50" y="24"/>
                  <a:pt x="50" y="24"/>
                  <a:pt x="50" y="24"/>
                </a:cubicBezTo>
                <a:cubicBezTo>
                  <a:pt x="56" y="23"/>
                  <a:pt x="60" y="18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41" y="0"/>
                  <a:pt x="36" y="5"/>
                  <a:pt x="36" y="12"/>
                </a:cubicBezTo>
                <a:cubicBezTo>
                  <a:pt x="36" y="18"/>
                  <a:pt x="40" y="23"/>
                  <a:pt x="46" y="24"/>
                </a:cubicBezTo>
                <a:cubicBezTo>
                  <a:pt x="46" y="48"/>
                  <a:pt x="46" y="48"/>
                  <a:pt x="4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22" y="48"/>
                  <a:pt x="11" y="59"/>
                  <a:pt x="10" y="72"/>
                </a:cubicBezTo>
                <a:cubicBezTo>
                  <a:pt x="4" y="73"/>
                  <a:pt x="0" y="78"/>
                  <a:pt x="0" y="84"/>
                </a:cubicBezTo>
                <a:cubicBezTo>
                  <a:pt x="0" y="91"/>
                  <a:pt x="5" y="96"/>
                  <a:pt x="12" y="96"/>
                </a:cubicBezTo>
                <a:cubicBezTo>
                  <a:pt x="19" y="96"/>
                  <a:pt x="24" y="91"/>
                  <a:pt x="24" y="84"/>
                </a:cubicBezTo>
                <a:cubicBezTo>
                  <a:pt x="24" y="78"/>
                  <a:pt x="20" y="73"/>
                  <a:pt x="14" y="72"/>
                </a:cubicBezTo>
                <a:cubicBezTo>
                  <a:pt x="15" y="61"/>
                  <a:pt x="24" y="52"/>
                  <a:pt x="3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72"/>
                  <a:pt x="46" y="72"/>
                  <a:pt x="46" y="72"/>
                </a:cubicBezTo>
                <a:cubicBezTo>
                  <a:pt x="40" y="73"/>
                  <a:pt x="36" y="78"/>
                  <a:pt x="36" y="84"/>
                </a:cubicBezTo>
                <a:cubicBezTo>
                  <a:pt x="36" y="91"/>
                  <a:pt x="41" y="96"/>
                  <a:pt x="48" y="96"/>
                </a:cubicBezTo>
                <a:cubicBezTo>
                  <a:pt x="55" y="96"/>
                  <a:pt x="60" y="91"/>
                  <a:pt x="60" y="84"/>
                </a:cubicBezTo>
                <a:cubicBezTo>
                  <a:pt x="60" y="78"/>
                  <a:pt x="56" y="73"/>
                  <a:pt x="50" y="72"/>
                </a:cubicBezTo>
                <a:cubicBezTo>
                  <a:pt x="50" y="52"/>
                  <a:pt x="50" y="52"/>
                  <a:pt x="50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72" y="52"/>
                  <a:pt x="81" y="61"/>
                  <a:pt x="82" y="72"/>
                </a:cubicBezTo>
                <a:cubicBezTo>
                  <a:pt x="76" y="73"/>
                  <a:pt x="72" y="78"/>
                  <a:pt x="72" y="84"/>
                </a:cubicBezTo>
                <a:cubicBezTo>
                  <a:pt x="72" y="91"/>
                  <a:pt x="77" y="96"/>
                  <a:pt x="84" y="96"/>
                </a:cubicBezTo>
                <a:cubicBezTo>
                  <a:pt x="91" y="96"/>
                  <a:pt x="96" y="91"/>
                  <a:pt x="96" y="84"/>
                </a:cubicBezTo>
                <a:cubicBezTo>
                  <a:pt x="96" y="78"/>
                  <a:pt x="92" y="73"/>
                  <a:pt x="8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B699ACE-30C3-4732-9F03-175FC64AA1FB}"/>
              </a:ext>
            </a:extLst>
          </p:cNvPr>
          <p:cNvGrpSpPr/>
          <p:nvPr/>
        </p:nvGrpSpPr>
        <p:grpSpPr>
          <a:xfrm>
            <a:off x="8885806" y="3142002"/>
            <a:ext cx="360362" cy="363538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44" name="Freeform 96">
              <a:extLst>
                <a:ext uri="{FF2B5EF4-FFF2-40B4-BE49-F238E27FC236}">
                  <a16:creationId xmlns:a16="http://schemas.microsoft.com/office/drawing/2014/main" id="{837CAAC9-F9B7-4933-9553-15D116BD2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97">
              <a:extLst>
                <a:ext uri="{FF2B5EF4-FFF2-40B4-BE49-F238E27FC236}">
                  <a16:creationId xmlns:a16="http://schemas.microsoft.com/office/drawing/2014/main" id="{6CBCC93F-D860-49AC-BBE7-BD0CFDA54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Rectangle 98">
              <a:extLst>
                <a:ext uri="{FF2B5EF4-FFF2-40B4-BE49-F238E27FC236}">
                  <a16:creationId xmlns:a16="http://schemas.microsoft.com/office/drawing/2014/main" id="{4A99CDA7-3CF5-451E-9099-C7DA41C14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Rectangle 99">
              <a:extLst>
                <a:ext uri="{FF2B5EF4-FFF2-40B4-BE49-F238E27FC236}">
                  <a16:creationId xmlns:a16="http://schemas.microsoft.com/office/drawing/2014/main" id="{24209E76-3878-4969-A1C6-A1F6F71C0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Rectangle 100">
              <a:extLst>
                <a:ext uri="{FF2B5EF4-FFF2-40B4-BE49-F238E27FC236}">
                  <a16:creationId xmlns:a16="http://schemas.microsoft.com/office/drawing/2014/main" id="{611C9356-5491-4502-A451-6FCFC88A7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Rectangle 101">
              <a:extLst>
                <a:ext uri="{FF2B5EF4-FFF2-40B4-BE49-F238E27FC236}">
                  <a16:creationId xmlns:a16="http://schemas.microsoft.com/office/drawing/2014/main" id="{0E012752-5969-4EE6-AF28-CE216DC10D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Rectangle 102">
              <a:extLst>
                <a:ext uri="{FF2B5EF4-FFF2-40B4-BE49-F238E27FC236}">
                  <a16:creationId xmlns:a16="http://schemas.microsoft.com/office/drawing/2014/main" id="{3ED2E535-C096-4A1F-A3CA-F942AEF60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731852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Mô hình tổng thể hệ thống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5</a:t>
            </a:fld>
            <a:endParaRPr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754E519-138A-452F-948A-17B55BBAD6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760" y="678680"/>
            <a:ext cx="9640993" cy="617932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D48D0B5D-0E27-4226-B0CC-C7FA92A82A22}"/>
              </a:ext>
            </a:extLst>
          </p:cNvPr>
          <p:cNvSpPr/>
          <p:nvPr/>
        </p:nvSpPr>
        <p:spPr>
          <a:xfrm>
            <a:off x="2108200" y="3207408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09835726-1E9C-452A-B251-1451311B79A2}"/>
              </a:ext>
            </a:extLst>
          </p:cNvPr>
          <p:cNvSpPr/>
          <p:nvPr/>
        </p:nvSpPr>
        <p:spPr>
          <a:xfrm>
            <a:off x="2108200" y="3207408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575197-5251-4F42-9727-721D9165D31C}"/>
              </a:ext>
            </a:extLst>
          </p:cNvPr>
          <p:cNvSpPr txBox="1"/>
          <p:nvPr/>
        </p:nvSpPr>
        <p:spPr>
          <a:xfrm>
            <a:off x="3955041" y="3593811"/>
            <a:ext cx="4284223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>
                <a:solidFill>
                  <a:schemeClr val="bg1"/>
                </a:solidFill>
              </a:rPr>
              <a:t>Demo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512CC1-0835-4A9D-A8ED-36787F3855BC}"/>
              </a:ext>
            </a:extLst>
          </p:cNvPr>
          <p:cNvCxnSpPr>
            <a:cxnSpLocks/>
          </p:cNvCxnSpPr>
          <p:nvPr/>
        </p:nvCxnSpPr>
        <p:spPr>
          <a:xfrm>
            <a:off x="10541820" y="2648346"/>
            <a:ext cx="1650181" cy="32688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4" name="Freeform 93">
            <a:extLst>
              <a:ext uri="{FF2B5EF4-FFF2-40B4-BE49-F238E27FC236}">
                <a16:creationId xmlns:a16="http://schemas.microsoft.com/office/drawing/2014/main" id="{A0516EBA-55DC-4E84-BBE3-65AA3D6EDC55}"/>
              </a:ext>
            </a:extLst>
          </p:cNvPr>
          <p:cNvSpPr>
            <a:spLocks noEditPoints="1"/>
          </p:cNvSpPr>
          <p:nvPr/>
        </p:nvSpPr>
        <p:spPr bwMode="auto">
          <a:xfrm>
            <a:off x="2655096" y="3645696"/>
            <a:ext cx="481011" cy="481011"/>
          </a:xfrm>
          <a:custGeom>
            <a:avLst/>
            <a:gdLst>
              <a:gd name="T0" fmla="*/ 96 w 96"/>
              <a:gd name="T1" fmla="*/ 11 h 96"/>
              <a:gd name="T2" fmla="*/ 96 w 96"/>
              <a:gd name="T3" fmla="*/ 10 h 96"/>
              <a:gd name="T4" fmla="*/ 95 w 96"/>
              <a:gd name="T5" fmla="*/ 9 h 96"/>
              <a:gd name="T6" fmla="*/ 94 w 96"/>
              <a:gd name="T7" fmla="*/ 8 h 96"/>
              <a:gd name="T8" fmla="*/ 86 w 96"/>
              <a:gd name="T9" fmla="*/ 8 h 96"/>
              <a:gd name="T10" fmla="*/ 86 w 96"/>
              <a:gd name="T11" fmla="*/ 2 h 96"/>
              <a:gd name="T12" fmla="*/ 84 w 96"/>
              <a:gd name="T13" fmla="*/ 0 h 96"/>
              <a:gd name="T14" fmla="*/ 12 w 96"/>
              <a:gd name="T15" fmla="*/ 0 h 96"/>
              <a:gd name="T16" fmla="*/ 10 w 96"/>
              <a:gd name="T17" fmla="*/ 2 h 96"/>
              <a:gd name="T18" fmla="*/ 10 w 96"/>
              <a:gd name="T19" fmla="*/ 8 h 96"/>
              <a:gd name="T20" fmla="*/ 2 w 96"/>
              <a:gd name="T21" fmla="*/ 8 h 96"/>
              <a:gd name="T22" fmla="*/ 0 w 96"/>
              <a:gd name="T23" fmla="*/ 10 h 96"/>
              <a:gd name="T24" fmla="*/ 0 w 96"/>
              <a:gd name="T25" fmla="*/ 11 h 96"/>
              <a:gd name="T26" fmla="*/ 7 w 96"/>
              <a:gd name="T27" fmla="*/ 39 h 96"/>
              <a:gd name="T28" fmla="*/ 19 w 96"/>
              <a:gd name="T29" fmla="*/ 44 h 96"/>
              <a:gd name="T30" fmla="*/ 33 w 96"/>
              <a:gd name="T31" fmla="*/ 56 h 96"/>
              <a:gd name="T32" fmla="*/ 42 w 96"/>
              <a:gd name="T33" fmla="*/ 68 h 96"/>
              <a:gd name="T34" fmla="*/ 26 w 96"/>
              <a:gd name="T35" fmla="*/ 84 h 96"/>
              <a:gd name="T36" fmla="*/ 24 w 96"/>
              <a:gd name="T37" fmla="*/ 86 h 96"/>
              <a:gd name="T38" fmla="*/ 24 w 96"/>
              <a:gd name="T39" fmla="*/ 94 h 96"/>
              <a:gd name="T40" fmla="*/ 26 w 96"/>
              <a:gd name="T41" fmla="*/ 96 h 96"/>
              <a:gd name="T42" fmla="*/ 70 w 96"/>
              <a:gd name="T43" fmla="*/ 96 h 96"/>
              <a:gd name="T44" fmla="*/ 72 w 96"/>
              <a:gd name="T45" fmla="*/ 94 h 96"/>
              <a:gd name="T46" fmla="*/ 72 w 96"/>
              <a:gd name="T47" fmla="*/ 86 h 96"/>
              <a:gd name="T48" fmla="*/ 70 w 96"/>
              <a:gd name="T49" fmla="*/ 84 h 96"/>
              <a:gd name="T50" fmla="*/ 54 w 96"/>
              <a:gd name="T51" fmla="*/ 68 h 96"/>
              <a:gd name="T52" fmla="*/ 63 w 96"/>
              <a:gd name="T53" fmla="*/ 55 h 96"/>
              <a:gd name="T54" fmla="*/ 77 w 96"/>
              <a:gd name="T55" fmla="*/ 44 h 96"/>
              <a:gd name="T56" fmla="*/ 88 w 96"/>
              <a:gd name="T57" fmla="*/ 39 h 96"/>
              <a:gd name="T58" fmla="*/ 96 w 96"/>
              <a:gd name="T59" fmla="*/ 11 h 96"/>
              <a:gd name="T60" fmla="*/ 61 w 96"/>
              <a:gd name="T61" fmla="*/ 24 h 96"/>
              <a:gd name="T62" fmla="*/ 56 w 96"/>
              <a:gd name="T63" fmla="*/ 28 h 96"/>
              <a:gd name="T64" fmla="*/ 58 w 96"/>
              <a:gd name="T65" fmla="*/ 35 h 96"/>
              <a:gd name="T66" fmla="*/ 57 w 96"/>
              <a:gd name="T67" fmla="*/ 38 h 96"/>
              <a:gd name="T68" fmla="*/ 56 w 96"/>
              <a:gd name="T69" fmla="*/ 38 h 96"/>
              <a:gd name="T70" fmla="*/ 55 w 96"/>
              <a:gd name="T71" fmla="*/ 38 h 96"/>
              <a:gd name="T72" fmla="*/ 48 w 96"/>
              <a:gd name="T73" fmla="*/ 32 h 96"/>
              <a:gd name="T74" fmla="*/ 41 w 96"/>
              <a:gd name="T75" fmla="*/ 38 h 96"/>
              <a:gd name="T76" fmla="*/ 39 w 96"/>
              <a:gd name="T77" fmla="*/ 38 h 96"/>
              <a:gd name="T78" fmla="*/ 38 w 96"/>
              <a:gd name="T79" fmla="*/ 35 h 96"/>
              <a:gd name="T80" fmla="*/ 41 w 96"/>
              <a:gd name="T81" fmla="*/ 28 h 96"/>
              <a:gd name="T82" fmla="*/ 35 w 96"/>
              <a:gd name="T83" fmla="*/ 24 h 96"/>
              <a:gd name="T84" fmla="*/ 34 w 96"/>
              <a:gd name="T85" fmla="*/ 21 h 96"/>
              <a:gd name="T86" fmla="*/ 36 w 96"/>
              <a:gd name="T87" fmla="*/ 20 h 96"/>
              <a:gd name="T88" fmla="*/ 43 w 96"/>
              <a:gd name="T89" fmla="*/ 20 h 96"/>
              <a:gd name="T90" fmla="*/ 46 w 96"/>
              <a:gd name="T91" fmla="*/ 13 h 96"/>
              <a:gd name="T92" fmla="*/ 50 w 96"/>
              <a:gd name="T93" fmla="*/ 13 h 96"/>
              <a:gd name="T94" fmla="*/ 53 w 96"/>
              <a:gd name="T95" fmla="*/ 20 h 96"/>
              <a:gd name="T96" fmla="*/ 60 w 96"/>
              <a:gd name="T97" fmla="*/ 20 h 96"/>
              <a:gd name="T98" fmla="*/ 62 w 96"/>
              <a:gd name="T99" fmla="*/ 21 h 96"/>
              <a:gd name="T100" fmla="*/ 61 w 96"/>
              <a:gd name="T101" fmla="*/ 24 h 96"/>
              <a:gd name="T102" fmla="*/ 10 w 96"/>
              <a:gd name="T103" fmla="*/ 36 h 96"/>
              <a:gd name="T104" fmla="*/ 4 w 96"/>
              <a:gd name="T105" fmla="*/ 12 h 96"/>
              <a:gd name="T106" fmla="*/ 10 w 96"/>
              <a:gd name="T107" fmla="*/ 12 h 96"/>
              <a:gd name="T108" fmla="*/ 17 w 96"/>
              <a:gd name="T109" fmla="*/ 40 h 96"/>
              <a:gd name="T110" fmla="*/ 10 w 96"/>
              <a:gd name="T111" fmla="*/ 36 h 96"/>
              <a:gd name="T112" fmla="*/ 86 w 96"/>
              <a:gd name="T113" fmla="*/ 36 h 96"/>
              <a:gd name="T114" fmla="*/ 79 w 96"/>
              <a:gd name="T115" fmla="*/ 40 h 96"/>
              <a:gd name="T116" fmla="*/ 86 w 96"/>
              <a:gd name="T117" fmla="*/ 12 h 96"/>
              <a:gd name="T118" fmla="*/ 92 w 96"/>
              <a:gd name="T119" fmla="*/ 12 h 96"/>
              <a:gd name="T120" fmla="*/ 86 w 96"/>
              <a:gd name="T121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6" h="96">
                <a:moveTo>
                  <a:pt x="96" y="11"/>
                </a:moveTo>
                <a:cubicBezTo>
                  <a:pt x="96" y="10"/>
                  <a:pt x="96" y="10"/>
                  <a:pt x="96" y="10"/>
                </a:cubicBezTo>
                <a:cubicBezTo>
                  <a:pt x="96" y="9"/>
                  <a:pt x="96" y="9"/>
                  <a:pt x="95" y="9"/>
                </a:cubicBezTo>
                <a:cubicBezTo>
                  <a:pt x="95" y="8"/>
                  <a:pt x="95" y="8"/>
                  <a:pt x="94" y="8"/>
                </a:cubicBezTo>
                <a:cubicBezTo>
                  <a:pt x="86" y="8"/>
                  <a:pt x="86" y="8"/>
                  <a:pt x="86" y="8"/>
                </a:cubicBezTo>
                <a:cubicBezTo>
                  <a:pt x="86" y="6"/>
                  <a:pt x="86" y="4"/>
                  <a:pt x="86" y="2"/>
                </a:cubicBezTo>
                <a:cubicBezTo>
                  <a:pt x="86" y="1"/>
                  <a:pt x="85" y="0"/>
                  <a:pt x="84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1" y="0"/>
                  <a:pt x="10" y="1"/>
                  <a:pt x="10" y="2"/>
                </a:cubicBezTo>
                <a:cubicBezTo>
                  <a:pt x="10" y="4"/>
                  <a:pt x="10" y="6"/>
                  <a:pt x="10" y="8"/>
                </a:cubicBezTo>
                <a:cubicBezTo>
                  <a:pt x="2" y="8"/>
                  <a:pt x="2" y="8"/>
                  <a:pt x="2" y="8"/>
                </a:cubicBezTo>
                <a:cubicBezTo>
                  <a:pt x="1" y="8"/>
                  <a:pt x="0" y="9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7"/>
                  <a:pt x="0" y="31"/>
                  <a:pt x="7" y="39"/>
                </a:cubicBezTo>
                <a:cubicBezTo>
                  <a:pt x="11" y="42"/>
                  <a:pt x="15" y="44"/>
                  <a:pt x="19" y="44"/>
                </a:cubicBezTo>
                <a:cubicBezTo>
                  <a:pt x="24" y="50"/>
                  <a:pt x="29" y="53"/>
                  <a:pt x="33" y="56"/>
                </a:cubicBezTo>
                <a:cubicBezTo>
                  <a:pt x="38" y="59"/>
                  <a:pt x="42" y="61"/>
                  <a:pt x="42" y="68"/>
                </a:cubicBezTo>
                <a:cubicBezTo>
                  <a:pt x="42" y="78"/>
                  <a:pt x="39" y="84"/>
                  <a:pt x="26" y="84"/>
                </a:cubicBezTo>
                <a:cubicBezTo>
                  <a:pt x="25" y="84"/>
                  <a:pt x="24" y="85"/>
                  <a:pt x="24" y="86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95"/>
                  <a:pt x="25" y="96"/>
                  <a:pt x="26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86"/>
                  <a:pt x="72" y="86"/>
                  <a:pt x="72" y="86"/>
                </a:cubicBezTo>
                <a:cubicBezTo>
                  <a:pt x="72" y="85"/>
                  <a:pt x="71" y="84"/>
                  <a:pt x="70" y="84"/>
                </a:cubicBezTo>
                <a:cubicBezTo>
                  <a:pt x="59" y="84"/>
                  <a:pt x="54" y="79"/>
                  <a:pt x="54" y="68"/>
                </a:cubicBezTo>
                <a:cubicBezTo>
                  <a:pt x="54" y="61"/>
                  <a:pt x="58" y="59"/>
                  <a:pt x="63" y="55"/>
                </a:cubicBezTo>
                <a:cubicBezTo>
                  <a:pt x="67" y="53"/>
                  <a:pt x="72" y="50"/>
                  <a:pt x="77" y="44"/>
                </a:cubicBezTo>
                <a:cubicBezTo>
                  <a:pt x="81" y="44"/>
                  <a:pt x="85" y="42"/>
                  <a:pt x="88" y="39"/>
                </a:cubicBezTo>
                <a:cubicBezTo>
                  <a:pt x="96" y="31"/>
                  <a:pt x="96" y="16"/>
                  <a:pt x="96" y="11"/>
                </a:cubicBezTo>
                <a:close/>
                <a:moveTo>
                  <a:pt x="61" y="24"/>
                </a:moveTo>
                <a:cubicBezTo>
                  <a:pt x="56" y="28"/>
                  <a:pt x="56" y="28"/>
                  <a:pt x="56" y="28"/>
                </a:cubicBezTo>
                <a:cubicBezTo>
                  <a:pt x="58" y="35"/>
                  <a:pt x="58" y="35"/>
                  <a:pt x="58" y="35"/>
                </a:cubicBezTo>
                <a:cubicBezTo>
                  <a:pt x="58" y="36"/>
                  <a:pt x="58" y="37"/>
                  <a:pt x="57" y="38"/>
                </a:cubicBezTo>
                <a:cubicBezTo>
                  <a:pt x="57" y="38"/>
                  <a:pt x="56" y="38"/>
                  <a:pt x="56" y="38"/>
                </a:cubicBezTo>
                <a:cubicBezTo>
                  <a:pt x="55" y="38"/>
                  <a:pt x="55" y="38"/>
                  <a:pt x="55" y="38"/>
                </a:cubicBezTo>
                <a:cubicBezTo>
                  <a:pt x="48" y="32"/>
                  <a:pt x="48" y="32"/>
                  <a:pt x="48" y="32"/>
                </a:cubicBezTo>
                <a:cubicBezTo>
                  <a:pt x="41" y="38"/>
                  <a:pt x="41" y="38"/>
                  <a:pt x="41" y="38"/>
                </a:cubicBezTo>
                <a:cubicBezTo>
                  <a:pt x="40" y="38"/>
                  <a:pt x="39" y="38"/>
                  <a:pt x="39" y="38"/>
                </a:cubicBezTo>
                <a:cubicBezTo>
                  <a:pt x="38" y="37"/>
                  <a:pt x="38" y="36"/>
                  <a:pt x="38" y="35"/>
                </a:cubicBezTo>
                <a:cubicBezTo>
                  <a:pt x="41" y="28"/>
                  <a:pt x="41" y="28"/>
                  <a:pt x="41" y="28"/>
                </a:cubicBezTo>
                <a:cubicBezTo>
                  <a:pt x="35" y="24"/>
                  <a:pt x="35" y="24"/>
                  <a:pt x="35" y="24"/>
                </a:cubicBezTo>
                <a:cubicBezTo>
                  <a:pt x="34" y="23"/>
                  <a:pt x="34" y="22"/>
                  <a:pt x="34" y="21"/>
                </a:cubicBezTo>
                <a:cubicBezTo>
                  <a:pt x="34" y="21"/>
                  <a:pt x="35" y="20"/>
                  <a:pt x="36" y="20"/>
                </a:cubicBezTo>
                <a:cubicBezTo>
                  <a:pt x="43" y="20"/>
                  <a:pt x="43" y="20"/>
                  <a:pt x="43" y="20"/>
                </a:cubicBezTo>
                <a:cubicBezTo>
                  <a:pt x="46" y="13"/>
                  <a:pt x="46" y="13"/>
                  <a:pt x="46" y="13"/>
                </a:cubicBezTo>
                <a:cubicBezTo>
                  <a:pt x="47" y="12"/>
                  <a:pt x="49" y="12"/>
                  <a:pt x="50" y="13"/>
                </a:cubicBezTo>
                <a:cubicBezTo>
                  <a:pt x="53" y="20"/>
                  <a:pt x="53" y="20"/>
                  <a:pt x="53" y="20"/>
                </a:cubicBezTo>
                <a:cubicBezTo>
                  <a:pt x="60" y="20"/>
                  <a:pt x="60" y="20"/>
                  <a:pt x="60" y="20"/>
                </a:cubicBezTo>
                <a:cubicBezTo>
                  <a:pt x="61" y="20"/>
                  <a:pt x="62" y="21"/>
                  <a:pt x="62" y="21"/>
                </a:cubicBezTo>
                <a:cubicBezTo>
                  <a:pt x="62" y="22"/>
                  <a:pt x="62" y="23"/>
                  <a:pt x="61" y="24"/>
                </a:cubicBezTo>
                <a:close/>
                <a:moveTo>
                  <a:pt x="10" y="36"/>
                </a:moveTo>
                <a:cubicBezTo>
                  <a:pt x="4" y="30"/>
                  <a:pt x="4" y="18"/>
                  <a:pt x="4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11" y="25"/>
                  <a:pt x="14" y="33"/>
                  <a:pt x="17" y="40"/>
                </a:cubicBezTo>
                <a:cubicBezTo>
                  <a:pt x="14" y="39"/>
                  <a:pt x="12" y="38"/>
                  <a:pt x="10" y="36"/>
                </a:cubicBezTo>
                <a:close/>
                <a:moveTo>
                  <a:pt x="86" y="36"/>
                </a:moveTo>
                <a:cubicBezTo>
                  <a:pt x="84" y="38"/>
                  <a:pt x="82" y="39"/>
                  <a:pt x="79" y="40"/>
                </a:cubicBezTo>
                <a:cubicBezTo>
                  <a:pt x="82" y="33"/>
                  <a:pt x="85" y="25"/>
                  <a:pt x="86" y="12"/>
                </a:cubicBezTo>
                <a:cubicBezTo>
                  <a:pt x="92" y="12"/>
                  <a:pt x="92" y="12"/>
                  <a:pt x="92" y="12"/>
                </a:cubicBezTo>
                <a:cubicBezTo>
                  <a:pt x="92" y="18"/>
                  <a:pt x="92" y="30"/>
                  <a:pt x="86" y="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2059999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Danh mục kho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7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320779-3E30-40B2-98ED-030B83A7F1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5800"/>
            <a:ext cx="12192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514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Cập nhật vị trí trong kho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8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62A6B0-4AA5-4517-A994-D414E13387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" y="679308"/>
            <a:ext cx="121862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78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Danh mục hàng hóa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9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F62B87-8DBD-422F-8126-1524309081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2" y="679308"/>
            <a:ext cx="121735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644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_METADATA_KEY" val="27d25723-9c5d-4348-8fa1-92e36a8710f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0XTVjITQRkUL_M1SBU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NiJehwduSO6RgdS14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0XTVjITQRkUL_M1SBU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2</TotalTime>
  <Words>344</Words>
  <Application>Microsoft Office PowerPoint</Application>
  <PresentationFormat>Widescreen</PresentationFormat>
  <Paragraphs>89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Calibri Light</vt:lpstr>
      <vt:lpstr>Lexend Deca</vt:lpstr>
      <vt:lpstr>Segoe UI</vt:lpstr>
      <vt:lpstr>Times New Roman</vt:lpstr>
      <vt:lpstr>Office Theme</vt:lpstr>
      <vt:lpstr>think-cell Slide</vt:lpstr>
      <vt:lpstr>Hệ thống Quản lý kho LogDez</vt:lpstr>
      <vt:lpstr>Nội dung</vt:lpstr>
      <vt:lpstr>Nội dung</vt:lpstr>
      <vt:lpstr>Khách hàng mục tiêu</vt:lpstr>
      <vt:lpstr>Mô hình tổng thể hệ thống</vt:lpstr>
      <vt:lpstr>Nội dung</vt:lpstr>
      <vt:lpstr>Danh mục kho</vt:lpstr>
      <vt:lpstr>Cập nhật vị trí trong kho</vt:lpstr>
      <vt:lpstr>Danh mục hàng hóa</vt:lpstr>
      <vt:lpstr>Cập nhật hàng hóa</vt:lpstr>
      <vt:lpstr>Nhập kho trực tiếp</vt:lpstr>
      <vt:lpstr>Yêu cầu xuất kho – Danh sách</vt:lpstr>
      <vt:lpstr>Yêu cầu xuất kho – Cập nhật yêu cầu</vt:lpstr>
      <vt:lpstr>Xuất kho trực tiếp</vt:lpstr>
      <vt:lpstr>Thông tin kho</vt:lpstr>
      <vt:lpstr>Thông tin giao dịch</vt:lpstr>
      <vt:lpstr>Thông tin giao hàng</vt:lpstr>
      <vt:lpstr>Doanh thu</vt:lpstr>
      <vt:lpstr>Nội dung</vt:lpstr>
      <vt:lpstr>Khách hàng</vt:lpstr>
      <vt:lpstr>Đánh giá hệ thố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ệ thống Quản lý kho LogDez</dc:title>
  <dc:creator>Doan Le</dc:creator>
  <cp:lastModifiedBy>Doan Le</cp:lastModifiedBy>
  <cp:revision>37</cp:revision>
  <dcterms:created xsi:type="dcterms:W3CDTF">2020-12-21T10:20:25Z</dcterms:created>
  <dcterms:modified xsi:type="dcterms:W3CDTF">2021-03-09T15:40:45Z</dcterms:modified>
</cp:coreProperties>
</file>